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7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8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9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33" r:id="rId5"/>
    <p:sldMasterId id="2147483837" r:id="rId6"/>
    <p:sldMasterId id="2147484058" r:id="rId7"/>
    <p:sldMasterId id="2147484121" r:id="rId8"/>
    <p:sldMasterId id="2147484200" r:id="rId9"/>
    <p:sldMasterId id="2147484227" r:id="rId10"/>
    <p:sldMasterId id="2147484321" r:id="rId11"/>
    <p:sldMasterId id="2147484329" r:id="rId12"/>
  </p:sldMasterIdLst>
  <p:notesMasterIdLst>
    <p:notesMasterId r:id="rId14"/>
  </p:notesMasterIdLst>
  <p:sldIdLst>
    <p:sldId id="43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DFF"/>
    <a:srgbClr val="D9EFFF"/>
    <a:srgbClr val="FFFFFF"/>
    <a:srgbClr val="3989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29480F-BD17-9EEF-1155-9BA41EE44CC6}" v="3" dt="2019-07-22T19:01:29.972"/>
    <p1510:client id="{559289E0-E021-255D-26C6-D80E9FD02B40}" v="1" dt="2019-07-22T21:08:00.871"/>
    <p1510:client id="{70BBD283-455D-5405-65D1-477A5AD9A028}" v="3" dt="2019-07-22T18:06:30.733"/>
    <p1510:client id="{E61744F4-E269-D067-859B-847BB1A9CE02}" v="18" dt="2019-07-22T20:05:06.078"/>
    <p1510:client id="{F23FD216-00B0-1F20-08A8-9981013798BD}" v="1" dt="2019-07-22T18:09:07.3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242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44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4B25E6-6EE0-4B8D-929C-5C72A3F1042F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741BE5-6964-426A-AF15-CE57FAA6EE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8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741BE5-6964-426A-AF15-CE57FAA6EE5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839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2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2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2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2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3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4.png"/><Relationship Id="rId2" Type="http://schemas.openxmlformats.org/officeDocument/2006/relationships/tags" Target="../tags/tag8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5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4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3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4.png"/><Relationship Id="rId2" Type="http://schemas.openxmlformats.org/officeDocument/2006/relationships/tags" Target="../tags/tag9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3.png"/><Relationship Id="rId2" Type="http://schemas.openxmlformats.org/officeDocument/2006/relationships/tags" Target="../tags/tag97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4.png"/><Relationship Id="rId2" Type="http://schemas.openxmlformats.org/officeDocument/2006/relationships/tags" Target="../tags/tag99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3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1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2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133.xml"/><Relationship Id="rId7" Type="http://schemas.openxmlformats.org/officeDocument/2006/relationships/image" Target="../media/image12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12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12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12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12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2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3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14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15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14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13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14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13.png"/><Relationship Id="rId2" Type="http://schemas.openxmlformats.org/officeDocument/2006/relationships/tags" Target="../tags/tag16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14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8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3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5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9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12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12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2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12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12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12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13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14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15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image" Target="../media/image14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13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image" Target="../media/image14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13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4.png"/><Relationship Id="rId2" Type="http://schemas.openxmlformats.org/officeDocument/2006/relationships/tags" Target="../tags/tag219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6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13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2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2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12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253.xml"/><Relationship Id="rId7" Type="http://schemas.openxmlformats.org/officeDocument/2006/relationships/image" Target="../media/image12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5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6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7.bin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8.bin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3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Title subhead style, 20pt reg, Georgia</a:t>
            </a:r>
          </a:p>
        </p:txBody>
      </p:sp>
      <p:pic>
        <p:nvPicPr>
          <p:cNvPr id="5" name="Picture 4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52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gray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712" y="6163545"/>
            <a:ext cx="1667739" cy="43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305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74010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50667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07837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3233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53592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97359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12469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10364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5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8995651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27653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87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4783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30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08245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78079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7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31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4166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>
                <a:solidFill>
                  <a:srgbClr val="00539B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71322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98852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29732315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17013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88870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End">
    <p:bg>
      <p:bgPr>
        <a:gradFill rotWithShape="1">
          <a:gsLst>
            <a:gs pos="83000">
              <a:srgbClr val="429644"/>
            </a:gs>
            <a:gs pos="45000">
              <a:schemeClr val="bg1">
                <a:tint val="80000"/>
                <a:satMod val="300000"/>
              </a:schemeClr>
            </a:gs>
            <a:gs pos="100000">
              <a:srgbClr val="00539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mage result for provide st. joseph health logo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174" y="2526794"/>
            <a:ext cx="8000037" cy="18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022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1. </a:t>
              </a:r>
              <a:r>
                <a:rPr lang="en-US" sz="1000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2. </a:t>
              </a:r>
              <a:r>
                <a:rPr lang="en-US" sz="1000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0127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7866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88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66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2323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rgbClr val="0067C4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0067C4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154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02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/>
              <a:t>Are there any questions?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eded for closing.</a:t>
            </a:r>
          </a:p>
        </p:txBody>
      </p:sp>
    </p:spTree>
    <p:extLst>
      <p:ext uri="{BB962C8B-B14F-4D97-AF65-F5344CB8AC3E}">
        <p14:creationId xmlns:p14="http://schemas.microsoft.com/office/powerpoint/2010/main" val="407018111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0067C4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637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91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>
                <a:solidFill>
                  <a:srgbClr val="00539B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6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9064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/>
          <a:srcRect l="1368" t="8949" r="1368" b="27879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957600" y="946936"/>
            <a:ext cx="2887436" cy="894745"/>
            <a:chOff x="848180" y="896938"/>
            <a:chExt cx="2178050" cy="674924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848180" y="896938"/>
              <a:ext cx="997552" cy="414102"/>
            </a:xfrm>
            <a:custGeom>
              <a:avLst/>
              <a:gdLst>
                <a:gd name="T0" fmla="*/ 39 w 340"/>
                <a:gd name="T1" fmla="*/ 10 h 140"/>
                <a:gd name="T2" fmla="*/ 54 w 340"/>
                <a:gd name="T3" fmla="*/ 8 h 140"/>
                <a:gd name="T4" fmla="*/ 47 w 340"/>
                <a:gd name="T5" fmla="*/ 64 h 140"/>
                <a:gd name="T6" fmla="*/ 60 w 340"/>
                <a:gd name="T7" fmla="*/ 132 h 140"/>
                <a:gd name="T8" fmla="*/ 39 w 340"/>
                <a:gd name="T9" fmla="*/ 69 h 140"/>
                <a:gd name="T10" fmla="*/ 92 w 340"/>
                <a:gd name="T11" fmla="*/ 100 h 140"/>
                <a:gd name="T12" fmla="*/ 285 w 340"/>
                <a:gd name="T13" fmla="*/ 78 h 140"/>
                <a:gd name="T14" fmla="*/ 286 w 340"/>
                <a:gd name="T15" fmla="*/ 82 h 140"/>
                <a:gd name="T16" fmla="*/ 306 w 340"/>
                <a:gd name="T17" fmla="*/ 113 h 140"/>
                <a:gd name="T18" fmla="*/ 238 w 340"/>
                <a:gd name="T19" fmla="*/ 71 h 140"/>
                <a:gd name="T20" fmla="*/ 315 w 340"/>
                <a:gd name="T21" fmla="*/ 40 h 140"/>
                <a:gd name="T22" fmla="*/ 318 w 340"/>
                <a:gd name="T23" fmla="*/ 41 h 140"/>
                <a:gd name="T24" fmla="*/ 317 w 340"/>
                <a:gd name="T25" fmla="*/ 1 h 140"/>
                <a:gd name="T26" fmla="*/ 313 w 340"/>
                <a:gd name="T27" fmla="*/ 12 h 140"/>
                <a:gd name="T28" fmla="*/ 278 w 340"/>
                <a:gd name="T29" fmla="*/ 0 h 140"/>
                <a:gd name="T30" fmla="*/ 216 w 340"/>
                <a:gd name="T31" fmla="*/ 90 h 140"/>
                <a:gd name="T32" fmla="*/ 177 w 340"/>
                <a:gd name="T33" fmla="*/ 135 h 140"/>
                <a:gd name="T34" fmla="*/ 174 w 340"/>
                <a:gd name="T35" fmla="*/ 5 h 140"/>
                <a:gd name="T36" fmla="*/ 210 w 340"/>
                <a:gd name="T37" fmla="*/ 34 h 140"/>
                <a:gd name="T38" fmla="*/ 211 w 340"/>
                <a:gd name="T39" fmla="*/ 1 h 140"/>
                <a:gd name="T40" fmla="*/ 208 w 340"/>
                <a:gd name="T41" fmla="*/ 2 h 140"/>
                <a:gd name="T42" fmla="*/ 206 w 340"/>
                <a:gd name="T43" fmla="*/ 12 h 140"/>
                <a:gd name="T44" fmla="*/ 110 w 340"/>
                <a:gd name="T45" fmla="*/ 71 h 140"/>
                <a:gd name="T46" fmla="*/ 110 w 340"/>
                <a:gd name="T47" fmla="*/ 82 h 140"/>
                <a:gd name="T48" fmla="*/ 69 w 340"/>
                <a:gd name="T49" fmla="*/ 65 h 140"/>
                <a:gd name="T50" fmla="*/ 53 w 340"/>
                <a:gd name="T51" fmla="*/ 2 h 140"/>
                <a:gd name="T52" fmla="*/ 0 w 340"/>
                <a:gd name="T53" fmla="*/ 2 h 140"/>
                <a:gd name="T54" fmla="*/ 1 w 340"/>
                <a:gd name="T55" fmla="*/ 6 h 140"/>
                <a:gd name="T56" fmla="*/ 18 w 340"/>
                <a:gd name="T57" fmla="*/ 106 h 140"/>
                <a:gd name="T58" fmla="*/ 0 w 340"/>
                <a:gd name="T59" fmla="*/ 135 h 140"/>
                <a:gd name="T60" fmla="*/ 28 w 340"/>
                <a:gd name="T61" fmla="*/ 137 h 140"/>
                <a:gd name="T62" fmla="*/ 115 w 340"/>
                <a:gd name="T63" fmla="*/ 101 h 140"/>
                <a:gd name="T64" fmla="*/ 177 w 340"/>
                <a:gd name="T65" fmla="*/ 140 h 140"/>
                <a:gd name="T66" fmla="*/ 214 w 340"/>
                <a:gd name="T67" fmla="*/ 127 h 140"/>
                <a:gd name="T68" fmla="*/ 218 w 340"/>
                <a:gd name="T69" fmla="*/ 138 h 140"/>
                <a:gd name="T70" fmla="*/ 219 w 340"/>
                <a:gd name="T71" fmla="*/ 101 h 140"/>
                <a:gd name="T72" fmla="*/ 279 w 340"/>
                <a:gd name="T73" fmla="*/ 140 h 140"/>
                <a:gd name="T74" fmla="*/ 328 w 340"/>
                <a:gd name="T75" fmla="*/ 121 h 140"/>
                <a:gd name="T76" fmla="*/ 327 w 340"/>
                <a:gd name="T77" fmla="*/ 101 h 140"/>
                <a:gd name="T78" fmla="*/ 340 w 340"/>
                <a:gd name="T79" fmla="*/ 80 h 140"/>
                <a:gd name="T80" fmla="*/ 315 w 340"/>
                <a:gd name="T81" fmla="*/ 7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0" h="140">
                  <a:moveTo>
                    <a:pt x="39" y="64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9"/>
                    <a:pt x="39" y="8"/>
                    <a:pt x="41" y="8"/>
                  </a:cubicBezTo>
                  <a:cubicBezTo>
                    <a:pt x="44" y="8"/>
                    <a:pt x="51" y="8"/>
                    <a:pt x="54" y="8"/>
                  </a:cubicBezTo>
                  <a:cubicBezTo>
                    <a:pt x="70" y="8"/>
                    <a:pt x="81" y="17"/>
                    <a:pt x="81" y="36"/>
                  </a:cubicBezTo>
                  <a:cubicBezTo>
                    <a:pt x="81" y="57"/>
                    <a:pt x="68" y="64"/>
                    <a:pt x="47" y="64"/>
                  </a:cubicBezTo>
                  <a:lnTo>
                    <a:pt x="39" y="64"/>
                  </a:lnTo>
                  <a:close/>
                  <a:moveTo>
                    <a:pt x="60" y="132"/>
                  </a:moveTo>
                  <a:cubicBezTo>
                    <a:pt x="42" y="132"/>
                    <a:pt x="39" y="129"/>
                    <a:pt x="39" y="10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71" y="69"/>
                    <a:pt x="92" y="74"/>
                    <a:pt x="92" y="100"/>
                  </a:cubicBezTo>
                  <a:cubicBezTo>
                    <a:pt x="92" y="120"/>
                    <a:pt x="80" y="132"/>
                    <a:pt x="60" y="132"/>
                  </a:cubicBezTo>
                  <a:close/>
                  <a:moveTo>
                    <a:pt x="285" y="78"/>
                  </a:moveTo>
                  <a:cubicBezTo>
                    <a:pt x="285" y="80"/>
                    <a:pt x="285" y="80"/>
                    <a:pt x="285" y="80"/>
                  </a:cubicBezTo>
                  <a:cubicBezTo>
                    <a:pt x="285" y="81"/>
                    <a:pt x="285" y="82"/>
                    <a:pt x="286" y="82"/>
                  </a:cubicBezTo>
                  <a:cubicBezTo>
                    <a:pt x="306" y="82"/>
                    <a:pt x="306" y="84"/>
                    <a:pt x="306" y="10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26"/>
                    <a:pt x="298" y="135"/>
                    <a:pt x="280" y="135"/>
                  </a:cubicBezTo>
                  <a:cubicBezTo>
                    <a:pt x="251" y="135"/>
                    <a:pt x="238" y="106"/>
                    <a:pt x="238" y="71"/>
                  </a:cubicBezTo>
                  <a:cubicBezTo>
                    <a:pt x="238" y="37"/>
                    <a:pt x="247" y="5"/>
                    <a:pt x="280" y="5"/>
                  </a:cubicBezTo>
                  <a:cubicBezTo>
                    <a:pt x="298" y="5"/>
                    <a:pt x="313" y="17"/>
                    <a:pt x="315" y="40"/>
                  </a:cubicBezTo>
                  <a:cubicBezTo>
                    <a:pt x="315" y="41"/>
                    <a:pt x="315" y="41"/>
                    <a:pt x="316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32"/>
                    <a:pt x="318" y="10"/>
                    <a:pt x="318" y="1"/>
                  </a:cubicBezTo>
                  <a:cubicBezTo>
                    <a:pt x="317" y="1"/>
                    <a:pt x="317" y="1"/>
                    <a:pt x="317" y="1"/>
                  </a:cubicBezTo>
                  <a:cubicBezTo>
                    <a:pt x="315" y="1"/>
                    <a:pt x="315" y="1"/>
                    <a:pt x="315" y="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03" y="3"/>
                    <a:pt x="290" y="0"/>
                    <a:pt x="278" y="0"/>
                  </a:cubicBezTo>
                  <a:cubicBezTo>
                    <a:pt x="239" y="0"/>
                    <a:pt x="214" y="32"/>
                    <a:pt x="214" y="71"/>
                  </a:cubicBezTo>
                  <a:cubicBezTo>
                    <a:pt x="214" y="78"/>
                    <a:pt x="215" y="84"/>
                    <a:pt x="216" y="90"/>
                  </a:cubicBezTo>
                  <a:cubicBezTo>
                    <a:pt x="216" y="95"/>
                    <a:pt x="216" y="95"/>
                    <a:pt x="216" y="95"/>
                  </a:cubicBezTo>
                  <a:cubicBezTo>
                    <a:pt x="213" y="125"/>
                    <a:pt x="196" y="135"/>
                    <a:pt x="177" y="135"/>
                  </a:cubicBezTo>
                  <a:cubicBezTo>
                    <a:pt x="148" y="135"/>
                    <a:pt x="134" y="108"/>
                    <a:pt x="134" y="71"/>
                  </a:cubicBezTo>
                  <a:cubicBezTo>
                    <a:pt x="134" y="37"/>
                    <a:pt x="142" y="5"/>
                    <a:pt x="174" y="5"/>
                  </a:cubicBezTo>
                  <a:cubicBezTo>
                    <a:pt x="191" y="5"/>
                    <a:pt x="205" y="15"/>
                    <a:pt x="208" y="33"/>
                  </a:cubicBezTo>
                  <a:cubicBezTo>
                    <a:pt x="208" y="34"/>
                    <a:pt x="209" y="34"/>
                    <a:pt x="210" y="34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25"/>
                    <a:pt x="211" y="10"/>
                    <a:pt x="211" y="1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9" y="1"/>
                    <a:pt x="208" y="1"/>
                    <a:pt x="208" y="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197" y="3"/>
                    <a:pt x="184" y="0"/>
                    <a:pt x="172" y="0"/>
                  </a:cubicBezTo>
                  <a:cubicBezTo>
                    <a:pt x="135" y="0"/>
                    <a:pt x="110" y="32"/>
                    <a:pt x="110" y="71"/>
                  </a:cubicBezTo>
                  <a:cubicBezTo>
                    <a:pt x="110" y="75"/>
                    <a:pt x="110" y="78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02" y="71"/>
                    <a:pt x="87" y="66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89" y="61"/>
                    <a:pt x="102" y="51"/>
                    <a:pt x="102" y="34"/>
                  </a:cubicBezTo>
                  <a:cubicBezTo>
                    <a:pt x="102" y="9"/>
                    <a:pt x="75" y="2"/>
                    <a:pt x="53" y="2"/>
                  </a:cubicBezTo>
                  <a:cubicBezTo>
                    <a:pt x="47" y="2"/>
                    <a:pt x="34" y="3"/>
                    <a:pt x="29" y="3"/>
                  </a:cubicBezTo>
                  <a:cubicBezTo>
                    <a:pt x="20" y="3"/>
                    <a:pt x="9" y="3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8" y="7"/>
                    <a:pt x="18" y="9"/>
                    <a:pt x="18" y="34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30"/>
                    <a:pt x="18" y="133"/>
                    <a:pt x="2" y="133"/>
                  </a:cubicBezTo>
                  <a:cubicBezTo>
                    <a:pt x="0" y="133"/>
                    <a:pt x="0" y="134"/>
                    <a:pt x="0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9" y="137"/>
                    <a:pt x="18" y="137"/>
                    <a:pt x="28" y="137"/>
                  </a:cubicBezTo>
                  <a:cubicBezTo>
                    <a:pt x="40" y="137"/>
                    <a:pt x="45" y="137"/>
                    <a:pt x="60" y="137"/>
                  </a:cubicBezTo>
                  <a:cubicBezTo>
                    <a:pt x="93" y="137"/>
                    <a:pt x="114" y="121"/>
                    <a:pt x="115" y="101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6" y="125"/>
                    <a:pt x="148" y="140"/>
                    <a:pt x="177" y="140"/>
                  </a:cubicBezTo>
                  <a:cubicBezTo>
                    <a:pt x="190" y="140"/>
                    <a:pt x="203" y="136"/>
                    <a:pt x="21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5" y="137"/>
                    <a:pt x="215" y="137"/>
                    <a:pt x="215" y="137"/>
                  </a:cubicBezTo>
                  <a:cubicBezTo>
                    <a:pt x="216" y="138"/>
                    <a:pt x="216" y="138"/>
                    <a:pt x="218" y="138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9" y="132"/>
                    <a:pt x="219" y="114"/>
                    <a:pt x="219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9" y="125"/>
                    <a:pt x="252" y="140"/>
                    <a:pt x="279" y="140"/>
                  </a:cubicBezTo>
                  <a:cubicBezTo>
                    <a:pt x="305" y="140"/>
                    <a:pt x="315" y="123"/>
                    <a:pt x="326" y="123"/>
                  </a:cubicBezTo>
                  <a:cubicBezTo>
                    <a:pt x="327" y="123"/>
                    <a:pt x="328" y="123"/>
                    <a:pt x="328" y="121"/>
                  </a:cubicBezTo>
                  <a:cubicBezTo>
                    <a:pt x="328" y="119"/>
                    <a:pt x="327" y="114"/>
                    <a:pt x="327" y="110"/>
                  </a:cubicBezTo>
                  <a:cubicBezTo>
                    <a:pt x="327" y="101"/>
                    <a:pt x="327" y="101"/>
                    <a:pt x="327" y="101"/>
                  </a:cubicBezTo>
                  <a:cubicBezTo>
                    <a:pt x="327" y="84"/>
                    <a:pt x="327" y="82"/>
                    <a:pt x="339" y="82"/>
                  </a:cubicBezTo>
                  <a:cubicBezTo>
                    <a:pt x="340" y="82"/>
                    <a:pt x="340" y="81"/>
                    <a:pt x="340" y="80"/>
                  </a:cubicBezTo>
                  <a:cubicBezTo>
                    <a:pt x="340" y="78"/>
                    <a:pt x="340" y="78"/>
                    <a:pt x="340" y="78"/>
                  </a:cubicBezTo>
                  <a:cubicBezTo>
                    <a:pt x="331" y="78"/>
                    <a:pt x="325" y="78"/>
                    <a:pt x="315" y="78"/>
                  </a:cubicBezTo>
                  <a:cubicBezTo>
                    <a:pt x="306" y="78"/>
                    <a:pt x="294" y="78"/>
                    <a:pt x="28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1194295" y="1459375"/>
              <a:ext cx="1831935" cy="112487"/>
            </a:xfrm>
            <a:custGeom>
              <a:avLst/>
              <a:gdLst>
                <a:gd name="T0" fmla="*/ 32 w 625"/>
                <a:gd name="T1" fmla="*/ 10 h 38"/>
                <a:gd name="T2" fmla="*/ 14 w 625"/>
                <a:gd name="T3" fmla="*/ 4 h 38"/>
                <a:gd name="T4" fmla="*/ 112 w 625"/>
                <a:gd name="T5" fmla="*/ 9 h 38"/>
                <a:gd name="T6" fmla="*/ 87 w 625"/>
                <a:gd name="T7" fmla="*/ 37 h 38"/>
                <a:gd name="T8" fmla="*/ 107 w 625"/>
                <a:gd name="T9" fmla="*/ 10 h 38"/>
                <a:gd name="T10" fmla="*/ 274 w 625"/>
                <a:gd name="T11" fmla="*/ 26 h 38"/>
                <a:gd name="T12" fmla="*/ 271 w 625"/>
                <a:gd name="T13" fmla="*/ 2 h 38"/>
                <a:gd name="T14" fmla="*/ 48 w 625"/>
                <a:gd name="T15" fmla="*/ 37 h 38"/>
                <a:gd name="T16" fmla="*/ 38 w 625"/>
                <a:gd name="T17" fmla="*/ 37 h 38"/>
                <a:gd name="T18" fmla="*/ 33 w 625"/>
                <a:gd name="T19" fmla="*/ 12 h 38"/>
                <a:gd name="T20" fmla="*/ 43 w 625"/>
                <a:gd name="T21" fmla="*/ 12 h 38"/>
                <a:gd name="T22" fmla="*/ 48 w 625"/>
                <a:gd name="T23" fmla="*/ 37 h 38"/>
                <a:gd name="T24" fmla="*/ 56 w 625"/>
                <a:gd name="T25" fmla="*/ 12 h 38"/>
                <a:gd name="T26" fmla="*/ 64 w 625"/>
                <a:gd name="T27" fmla="*/ 23 h 38"/>
                <a:gd name="T28" fmla="*/ 64 w 625"/>
                <a:gd name="T29" fmla="*/ 25 h 38"/>
                <a:gd name="T30" fmla="*/ 118 w 625"/>
                <a:gd name="T31" fmla="*/ 25 h 38"/>
                <a:gd name="T32" fmla="*/ 145 w 625"/>
                <a:gd name="T33" fmla="*/ 37 h 38"/>
                <a:gd name="T34" fmla="*/ 157 w 625"/>
                <a:gd name="T35" fmla="*/ 13 h 38"/>
                <a:gd name="T36" fmla="*/ 152 w 625"/>
                <a:gd name="T37" fmla="*/ 38 h 38"/>
                <a:gd name="T38" fmla="*/ 163 w 625"/>
                <a:gd name="T39" fmla="*/ 19 h 38"/>
                <a:gd name="T40" fmla="*/ 177 w 625"/>
                <a:gd name="T41" fmla="*/ 14 h 38"/>
                <a:gd name="T42" fmla="*/ 196 w 625"/>
                <a:gd name="T43" fmla="*/ 11 h 38"/>
                <a:gd name="T44" fmla="*/ 215 w 625"/>
                <a:gd name="T45" fmla="*/ 17 h 38"/>
                <a:gd name="T46" fmla="*/ 213 w 625"/>
                <a:gd name="T47" fmla="*/ 27 h 38"/>
                <a:gd name="T48" fmla="*/ 226 w 625"/>
                <a:gd name="T49" fmla="*/ 14 h 38"/>
                <a:gd name="T50" fmla="*/ 290 w 625"/>
                <a:gd name="T51" fmla="*/ 38 h 38"/>
                <a:gd name="T52" fmla="*/ 324 w 625"/>
                <a:gd name="T53" fmla="*/ 38 h 38"/>
                <a:gd name="T54" fmla="*/ 303 w 625"/>
                <a:gd name="T55" fmla="*/ 36 h 38"/>
                <a:gd name="T56" fmla="*/ 324 w 625"/>
                <a:gd name="T57" fmla="*/ 30 h 38"/>
                <a:gd name="T58" fmla="*/ 327 w 625"/>
                <a:gd name="T59" fmla="*/ 38 h 38"/>
                <a:gd name="T60" fmla="*/ 345 w 625"/>
                <a:gd name="T61" fmla="*/ 32 h 38"/>
                <a:gd name="T62" fmla="*/ 340 w 625"/>
                <a:gd name="T63" fmla="*/ 14 h 38"/>
                <a:gd name="T64" fmla="*/ 350 w 625"/>
                <a:gd name="T65" fmla="*/ 12 h 38"/>
                <a:gd name="T66" fmla="*/ 366 w 625"/>
                <a:gd name="T67" fmla="*/ 14 h 38"/>
                <a:gd name="T68" fmla="*/ 392 w 625"/>
                <a:gd name="T69" fmla="*/ 37 h 38"/>
                <a:gd name="T70" fmla="*/ 383 w 625"/>
                <a:gd name="T71" fmla="*/ 12 h 38"/>
                <a:gd name="T72" fmla="*/ 397 w 625"/>
                <a:gd name="T73" fmla="*/ 29 h 38"/>
                <a:gd name="T74" fmla="*/ 402 w 625"/>
                <a:gd name="T75" fmla="*/ 14 h 38"/>
                <a:gd name="T76" fmla="*/ 416 w 625"/>
                <a:gd name="T77" fmla="*/ 19 h 38"/>
                <a:gd name="T78" fmla="*/ 419 w 625"/>
                <a:gd name="T79" fmla="*/ 37 h 38"/>
                <a:gd name="T80" fmla="*/ 430 w 625"/>
                <a:gd name="T81" fmla="*/ 13 h 38"/>
                <a:gd name="T82" fmla="*/ 438 w 625"/>
                <a:gd name="T83" fmla="*/ 17 h 38"/>
                <a:gd name="T84" fmla="*/ 436 w 625"/>
                <a:gd name="T85" fmla="*/ 27 h 38"/>
                <a:gd name="T86" fmla="*/ 449 w 625"/>
                <a:gd name="T87" fmla="*/ 13 h 38"/>
                <a:gd name="T88" fmla="*/ 484 w 625"/>
                <a:gd name="T89" fmla="*/ 28 h 38"/>
                <a:gd name="T90" fmla="*/ 479 w 625"/>
                <a:gd name="T91" fmla="*/ 12 h 38"/>
                <a:gd name="T92" fmla="*/ 473 w 625"/>
                <a:gd name="T93" fmla="*/ 28 h 38"/>
                <a:gd name="T94" fmla="*/ 522 w 625"/>
                <a:gd name="T95" fmla="*/ 33 h 38"/>
                <a:gd name="T96" fmla="*/ 520 w 625"/>
                <a:gd name="T97" fmla="*/ 11 h 38"/>
                <a:gd name="T98" fmla="*/ 512 w 625"/>
                <a:gd name="T99" fmla="*/ 21 h 38"/>
                <a:gd name="T100" fmla="*/ 551 w 625"/>
                <a:gd name="T101" fmla="*/ 35 h 38"/>
                <a:gd name="T102" fmla="*/ 527 w 625"/>
                <a:gd name="T103" fmla="*/ 37 h 38"/>
                <a:gd name="T104" fmla="*/ 547 w 625"/>
                <a:gd name="T105" fmla="*/ 18 h 38"/>
                <a:gd name="T106" fmla="*/ 563 w 625"/>
                <a:gd name="T107" fmla="*/ 11 h 38"/>
                <a:gd name="T108" fmla="*/ 580 w 625"/>
                <a:gd name="T109" fmla="*/ 19 h 38"/>
                <a:gd name="T110" fmla="*/ 590 w 625"/>
                <a:gd name="T111" fmla="*/ 35 h 38"/>
                <a:gd name="T112" fmla="*/ 599 w 625"/>
                <a:gd name="T113" fmla="*/ 22 h 38"/>
                <a:gd name="T114" fmla="*/ 604 w 625"/>
                <a:gd name="T115" fmla="*/ 37 h 38"/>
                <a:gd name="T116" fmla="*/ 625 w 625"/>
                <a:gd name="T11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38">
                  <a:moveTo>
                    <a:pt x="23" y="37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4"/>
                    <a:pt x="19" y="34"/>
                    <a:pt x="19" y="28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7" y="3"/>
                    <a:pt x="30" y="4"/>
                    <a:pt x="30" y="10"/>
                  </a:cubicBezTo>
                  <a:cubicBezTo>
                    <a:pt x="30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8"/>
                    <a:pt x="32" y="3"/>
                    <a:pt x="32" y="1"/>
                  </a:cubicBezTo>
                  <a:cubicBezTo>
                    <a:pt x="30" y="1"/>
                    <a:pt x="27" y="1"/>
                    <a:pt x="2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3"/>
                    <a:pt x="0" y="9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4"/>
                    <a:pt x="5" y="3"/>
                    <a:pt x="10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4"/>
                    <a:pt x="14" y="34"/>
                    <a:pt x="10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2" y="37"/>
                    <a:pt x="14" y="37"/>
                    <a:pt x="16" y="37"/>
                  </a:cubicBezTo>
                  <a:cubicBezTo>
                    <a:pt x="19" y="37"/>
                    <a:pt x="21" y="37"/>
                    <a:pt x="23" y="37"/>
                  </a:cubicBezTo>
                  <a:close/>
                  <a:moveTo>
                    <a:pt x="116" y="27"/>
                  </a:moveTo>
                  <a:cubicBezTo>
                    <a:pt x="116" y="21"/>
                    <a:pt x="110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9" y="17"/>
                    <a:pt x="112" y="14"/>
                    <a:pt x="112" y="9"/>
                  </a:cubicBezTo>
                  <a:cubicBezTo>
                    <a:pt x="112" y="3"/>
                    <a:pt x="105" y="1"/>
                    <a:pt x="99" y="1"/>
                  </a:cubicBezTo>
                  <a:cubicBezTo>
                    <a:pt x="97" y="1"/>
                    <a:pt x="96" y="1"/>
                    <a:pt x="94" y="1"/>
                  </a:cubicBezTo>
                  <a:cubicBezTo>
                    <a:pt x="91" y="1"/>
                    <a:pt x="89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91" y="3"/>
                    <a:pt x="91" y="3"/>
                    <a:pt x="91" y="10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4"/>
                    <a:pt x="91" y="34"/>
                    <a:pt x="87" y="35"/>
                  </a:cubicBezTo>
                  <a:cubicBezTo>
                    <a:pt x="87" y="35"/>
                    <a:pt x="87" y="35"/>
                    <a:pt x="87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9" y="37"/>
                    <a:pt x="91" y="37"/>
                    <a:pt x="94" y="37"/>
                  </a:cubicBezTo>
                  <a:cubicBezTo>
                    <a:pt x="97" y="37"/>
                    <a:pt x="98" y="37"/>
                    <a:pt x="101" y="37"/>
                  </a:cubicBezTo>
                  <a:cubicBezTo>
                    <a:pt x="110" y="37"/>
                    <a:pt x="116" y="32"/>
                    <a:pt x="116" y="27"/>
                  </a:cubicBezTo>
                  <a:close/>
                  <a:moveTo>
                    <a:pt x="110" y="27"/>
                  </a:moveTo>
                  <a:cubicBezTo>
                    <a:pt x="110" y="32"/>
                    <a:pt x="107" y="35"/>
                    <a:pt x="101" y="35"/>
                  </a:cubicBezTo>
                  <a:cubicBezTo>
                    <a:pt x="96" y="35"/>
                    <a:pt x="96" y="34"/>
                    <a:pt x="96" y="27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106" y="19"/>
                    <a:pt x="110" y="21"/>
                    <a:pt x="110" y="27"/>
                  </a:cubicBezTo>
                  <a:close/>
                  <a:moveTo>
                    <a:pt x="107" y="10"/>
                  </a:moveTo>
                  <a:cubicBezTo>
                    <a:pt x="107" y="15"/>
                    <a:pt x="104" y="17"/>
                    <a:pt x="98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3"/>
                    <a:pt x="96" y="3"/>
                    <a:pt x="97" y="3"/>
                  </a:cubicBezTo>
                  <a:cubicBezTo>
                    <a:pt x="97" y="3"/>
                    <a:pt x="99" y="3"/>
                    <a:pt x="100" y="3"/>
                  </a:cubicBezTo>
                  <a:cubicBezTo>
                    <a:pt x="104" y="3"/>
                    <a:pt x="107" y="5"/>
                    <a:pt x="107" y="10"/>
                  </a:cubicBezTo>
                  <a:close/>
                  <a:moveTo>
                    <a:pt x="276" y="37"/>
                  </a:moveTo>
                  <a:cubicBezTo>
                    <a:pt x="276" y="35"/>
                    <a:pt x="276" y="28"/>
                    <a:pt x="276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3" y="33"/>
                    <a:pt x="270" y="35"/>
                    <a:pt x="264" y="35"/>
                  </a:cubicBezTo>
                  <a:cubicBezTo>
                    <a:pt x="257" y="35"/>
                    <a:pt x="253" y="29"/>
                    <a:pt x="253" y="19"/>
                  </a:cubicBezTo>
                  <a:cubicBezTo>
                    <a:pt x="253" y="11"/>
                    <a:pt x="254" y="2"/>
                    <a:pt x="263" y="2"/>
                  </a:cubicBezTo>
                  <a:cubicBezTo>
                    <a:pt x="268" y="2"/>
                    <a:pt x="271" y="5"/>
                    <a:pt x="272" y="11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9"/>
                    <a:pt x="274" y="3"/>
                    <a:pt x="274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2" y="0"/>
                    <a:pt x="272" y="0"/>
                    <a:pt x="272" y="1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69" y="1"/>
                    <a:pt x="266" y="0"/>
                    <a:pt x="263" y="0"/>
                  </a:cubicBezTo>
                  <a:cubicBezTo>
                    <a:pt x="253" y="0"/>
                    <a:pt x="247" y="8"/>
                    <a:pt x="247" y="19"/>
                  </a:cubicBezTo>
                  <a:cubicBezTo>
                    <a:pt x="247" y="31"/>
                    <a:pt x="254" y="38"/>
                    <a:pt x="264" y="38"/>
                  </a:cubicBezTo>
                  <a:cubicBezTo>
                    <a:pt x="269" y="38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4" y="37"/>
                    <a:pt x="274" y="37"/>
                    <a:pt x="275" y="37"/>
                  </a:cubicBezTo>
                  <a:lnTo>
                    <a:pt x="276" y="37"/>
                  </a:lnTo>
                  <a:close/>
                  <a:moveTo>
                    <a:pt x="48" y="37"/>
                  </a:moveTo>
                  <a:cubicBezTo>
                    <a:pt x="47" y="37"/>
                    <a:pt x="45" y="37"/>
                    <a:pt x="43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6" y="35"/>
                    <a:pt x="46" y="35"/>
                    <a:pt x="46" y="3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5"/>
                    <a:pt x="35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5" y="37"/>
                    <a:pt x="33" y="37"/>
                  </a:cubicBezTo>
                  <a:cubicBezTo>
                    <a:pt x="31" y="37"/>
                    <a:pt x="29" y="37"/>
                    <a:pt x="27" y="37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5"/>
                    <a:pt x="28" y="35"/>
                  </a:cubicBezTo>
                  <a:cubicBezTo>
                    <a:pt x="31" y="35"/>
                    <a:pt x="31" y="35"/>
                    <a:pt x="31" y="3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4"/>
                    <a:pt x="31" y="14"/>
                    <a:pt x="28" y="14"/>
                  </a:cubicBezTo>
                  <a:cubicBezTo>
                    <a:pt x="27" y="14"/>
                    <a:pt x="27" y="14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9" y="12"/>
                    <a:pt x="31" y="12"/>
                    <a:pt x="33" y="12"/>
                  </a:cubicBezTo>
                  <a:cubicBezTo>
                    <a:pt x="35" y="12"/>
                    <a:pt x="37" y="12"/>
                    <a:pt x="38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5" y="14"/>
                    <a:pt x="35" y="14"/>
                    <a:pt x="35" y="19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4"/>
                    <a:pt x="46" y="14"/>
                    <a:pt x="43" y="14"/>
                  </a:cubicBezTo>
                  <a:cubicBezTo>
                    <a:pt x="43" y="14"/>
                    <a:pt x="43" y="14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2"/>
                    <a:pt x="47" y="12"/>
                    <a:pt x="48" y="12"/>
                  </a:cubicBezTo>
                  <a:cubicBezTo>
                    <a:pt x="50" y="12"/>
                    <a:pt x="52" y="12"/>
                    <a:pt x="54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4"/>
                    <a:pt x="51" y="14"/>
                    <a:pt x="51" y="1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5"/>
                    <a:pt x="51" y="35"/>
                    <a:pt x="54" y="35"/>
                  </a:cubicBezTo>
                  <a:cubicBezTo>
                    <a:pt x="54" y="35"/>
                    <a:pt x="54" y="36"/>
                    <a:pt x="54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2" y="37"/>
                    <a:pt x="50" y="37"/>
                    <a:pt x="48" y="37"/>
                  </a:cubicBezTo>
                  <a:close/>
                  <a:moveTo>
                    <a:pt x="69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0" y="37"/>
                    <a:pt x="58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9" y="35"/>
                    <a:pt x="59" y="35"/>
                    <a:pt x="59" y="3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4"/>
                    <a:pt x="59" y="14"/>
                    <a:pt x="56" y="14"/>
                  </a:cubicBezTo>
                  <a:cubicBezTo>
                    <a:pt x="56" y="14"/>
                    <a:pt x="56" y="14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2"/>
                    <a:pt x="60" y="12"/>
                    <a:pt x="62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71" y="12"/>
                    <a:pt x="73" y="12"/>
                    <a:pt x="74" y="12"/>
                  </a:cubicBezTo>
                  <a:cubicBezTo>
                    <a:pt x="74" y="14"/>
                    <a:pt x="74" y="17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5"/>
                    <a:pt x="71" y="14"/>
                    <a:pt x="68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7" y="23"/>
                    <a:pt x="68" y="23"/>
                    <a:pt x="68" y="20"/>
                  </a:cubicBezTo>
                  <a:cubicBezTo>
                    <a:pt x="68" y="20"/>
                    <a:pt x="68" y="20"/>
                    <a:pt x="6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0" y="23"/>
                    <a:pt x="70" y="24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5"/>
                    <a:pt x="67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5"/>
                    <a:pt x="64" y="35"/>
                    <a:pt x="67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2" y="35"/>
                    <a:pt x="74" y="34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5"/>
                    <a:pt x="76" y="37"/>
                  </a:cubicBezTo>
                  <a:cubicBezTo>
                    <a:pt x="74" y="37"/>
                    <a:pt x="72" y="37"/>
                    <a:pt x="69" y="37"/>
                  </a:cubicBezTo>
                  <a:close/>
                  <a:moveTo>
                    <a:pt x="130" y="38"/>
                  </a:moveTo>
                  <a:cubicBezTo>
                    <a:pt x="123" y="38"/>
                    <a:pt x="118" y="33"/>
                    <a:pt x="118" y="25"/>
                  </a:cubicBezTo>
                  <a:cubicBezTo>
                    <a:pt x="118" y="16"/>
                    <a:pt x="124" y="11"/>
                    <a:pt x="130" y="11"/>
                  </a:cubicBezTo>
                  <a:cubicBezTo>
                    <a:pt x="137" y="11"/>
                    <a:pt x="142" y="16"/>
                    <a:pt x="142" y="24"/>
                  </a:cubicBezTo>
                  <a:cubicBezTo>
                    <a:pt x="142" y="33"/>
                    <a:pt x="137" y="38"/>
                    <a:pt x="130" y="38"/>
                  </a:cubicBezTo>
                  <a:close/>
                  <a:moveTo>
                    <a:pt x="130" y="14"/>
                  </a:moveTo>
                  <a:cubicBezTo>
                    <a:pt x="125" y="14"/>
                    <a:pt x="123" y="17"/>
                    <a:pt x="123" y="25"/>
                  </a:cubicBezTo>
                  <a:cubicBezTo>
                    <a:pt x="123" y="32"/>
                    <a:pt x="126" y="36"/>
                    <a:pt x="130" y="36"/>
                  </a:cubicBezTo>
                  <a:cubicBezTo>
                    <a:pt x="135" y="36"/>
                    <a:pt x="137" y="32"/>
                    <a:pt x="137" y="24"/>
                  </a:cubicBezTo>
                  <a:cubicBezTo>
                    <a:pt x="137" y="17"/>
                    <a:pt x="134" y="14"/>
                    <a:pt x="130" y="14"/>
                  </a:cubicBezTo>
                  <a:close/>
                  <a:moveTo>
                    <a:pt x="146" y="36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6"/>
                    <a:pt x="144" y="31"/>
                    <a:pt x="144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9"/>
                    <a:pt x="146" y="30"/>
                  </a:cubicBezTo>
                  <a:cubicBezTo>
                    <a:pt x="146" y="33"/>
                    <a:pt x="148" y="36"/>
                    <a:pt x="152" y="36"/>
                  </a:cubicBezTo>
                  <a:cubicBezTo>
                    <a:pt x="155" y="36"/>
                    <a:pt x="157" y="34"/>
                    <a:pt x="157" y="32"/>
                  </a:cubicBezTo>
                  <a:cubicBezTo>
                    <a:pt x="157" y="25"/>
                    <a:pt x="144" y="27"/>
                    <a:pt x="144" y="19"/>
                  </a:cubicBezTo>
                  <a:cubicBezTo>
                    <a:pt x="144" y="14"/>
                    <a:pt x="147" y="11"/>
                    <a:pt x="152" y="11"/>
                  </a:cubicBezTo>
                  <a:cubicBezTo>
                    <a:pt x="153" y="11"/>
                    <a:pt x="155" y="12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4"/>
                    <a:pt x="159" y="18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6" y="16"/>
                    <a:pt x="155" y="14"/>
                    <a:pt x="152" y="14"/>
                  </a:cubicBezTo>
                  <a:cubicBezTo>
                    <a:pt x="149" y="14"/>
                    <a:pt x="148" y="15"/>
                    <a:pt x="148" y="17"/>
                  </a:cubicBezTo>
                  <a:cubicBezTo>
                    <a:pt x="148" y="23"/>
                    <a:pt x="161" y="21"/>
                    <a:pt x="161" y="30"/>
                  </a:cubicBezTo>
                  <a:cubicBezTo>
                    <a:pt x="161" y="35"/>
                    <a:pt x="156" y="38"/>
                    <a:pt x="152" y="38"/>
                  </a:cubicBezTo>
                  <a:cubicBezTo>
                    <a:pt x="149" y="38"/>
                    <a:pt x="147" y="37"/>
                    <a:pt x="146" y="36"/>
                  </a:cubicBezTo>
                  <a:close/>
                  <a:moveTo>
                    <a:pt x="172" y="37"/>
                  </a:moveTo>
                  <a:cubicBezTo>
                    <a:pt x="171" y="37"/>
                    <a:pt x="168" y="37"/>
                    <a:pt x="167" y="37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5"/>
                  </a:cubicBezTo>
                  <a:cubicBezTo>
                    <a:pt x="170" y="35"/>
                    <a:pt x="170" y="35"/>
                    <a:pt x="170" y="3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4"/>
                    <a:pt x="163" y="14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8"/>
                    <a:pt x="161" y="14"/>
                    <a:pt x="161" y="12"/>
                  </a:cubicBezTo>
                  <a:cubicBezTo>
                    <a:pt x="163" y="12"/>
                    <a:pt x="165" y="12"/>
                    <a:pt x="168" y="12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2"/>
                    <a:pt x="182" y="12"/>
                    <a:pt x="184" y="12"/>
                  </a:cubicBezTo>
                  <a:cubicBezTo>
                    <a:pt x="184" y="14"/>
                    <a:pt x="184" y="18"/>
                    <a:pt x="184" y="19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2" y="14"/>
                    <a:pt x="180" y="14"/>
                    <a:pt x="177" y="14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5" y="14"/>
                    <a:pt x="175" y="14"/>
                    <a:pt x="175" y="15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5" y="35"/>
                    <a:pt x="175" y="35"/>
                    <a:pt x="178" y="35"/>
                  </a:cubicBezTo>
                  <a:cubicBezTo>
                    <a:pt x="178" y="35"/>
                    <a:pt x="178" y="36"/>
                    <a:pt x="178" y="36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6" y="37"/>
                    <a:pt x="174" y="37"/>
                    <a:pt x="172" y="37"/>
                  </a:cubicBezTo>
                  <a:close/>
                  <a:moveTo>
                    <a:pt x="196" y="38"/>
                  </a:moveTo>
                  <a:cubicBezTo>
                    <a:pt x="189" y="38"/>
                    <a:pt x="184" y="33"/>
                    <a:pt x="184" y="25"/>
                  </a:cubicBezTo>
                  <a:cubicBezTo>
                    <a:pt x="184" y="16"/>
                    <a:pt x="190" y="11"/>
                    <a:pt x="196" y="11"/>
                  </a:cubicBezTo>
                  <a:cubicBezTo>
                    <a:pt x="203" y="11"/>
                    <a:pt x="208" y="16"/>
                    <a:pt x="208" y="24"/>
                  </a:cubicBezTo>
                  <a:cubicBezTo>
                    <a:pt x="208" y="33"/>
                    <a:pt x="203" y="38"/>
                    <a:pt x="196" y="38"/>
                  </a:cubicBezTo>
                  <a:close/>
                  <a:moveTo>
                    <a:pt x="196" y="14"/>
                  </a:moveTo>
                  <a:cubicBezTo>
                    <a:pt x="191" y="14"/>
                    <a:pt x="189" y="17"/>
                    <a:pt x="189" y="25"/>
                  </a:cubicBezTo>
                  <a:cubicBezTo>
                    <a:pt x="189" y="32"/>
                    <a:pt x="192" y="36"/>
                    <a:pt x="197" y="36"/>
                  </a:cubicBezTo>
                  <a:cubicBezTo>
                    <a:pt x="201" y="36"/>
                    <a:pt x="203" y="32"/>
                    <a:pt x="203" y="24"/>
                  </a:cubicBezTo>
                  <a:cubicBezTo>
                    <a:pt x="203" y="17"/>
                    <a:pt x="200" y="14"/>
                    <a:pt x="196" y="14"/>
                  </a:cubicBezTo>
                  <a:close/>
                  <a:moveTo>
                    <a:pt x="230" y="38"/>
                  </a:moveTo>
                  <a:cubicBezTo>
                    <a:pt x="229" y="36"/>
                    <a:pt x="228" y="35"/>
                    <a:pt x="227" y="34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34"/>
                    <a:pt x="215" y="35"/>
                    <a:pt x="220" y="35"/>
                  </a:cubicBezTo>
                  <a:cubicBezTo>
                    <a:pt x="220" y="35"/>
                    <a:pt x="220" y="36"/>
                    <a:pt x="220" y="36"/>
                  </a:cubicBezTo>
                  <a:cubicBezTo>
                    <a:pt x="220" y="37"/>
                    <a:pt x="220" y="37"/>
                    <a:pt x="220" y="37"/>
                  </a:cubicBezTo>
                  <a:cubicBezTo>
                    <a:pt x="218" y="37"/>
                    <a:pt x="216" y="37"/>
                    <a:pt x="214" y="37"/>
                  </a:cubicBezTo>
                  <a:cubicBezTo>
                    <a:pt x="212" y="37"/>
                    <a:pt x="211" y="37"/>
                    <a:pt x="209" y="37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5"/>
                    <a:pt x="210" y="35"/>
                  </a:cubicBezTo>
                  <a:cubicBezTo>
                    <a:pt x="213" y="35"/>
                    <a:pt x="213" y="34"/>
                    <a:pt x="213" y="27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13" y="14"/>
                    <a:pt x="213" y="14"/>
                    <a:pt x="210" y="14"/>
                  </a:cubicBezTo>
                  <a:cubicBezTo>
                    <a:pt x="209" y="14"/>
                    <a:pt x="209" y="14"/>
                    <a:pt x="209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11" y="12"/>
                    <a:pt x="213" y="12"/>
                    <a:pt x="214" y="12"/>
                  </a:cubicBezTo>
                  <a:cubicBezTo>
                    <a:pt x="215" y="12"/>
                    <a:pt x="217" y="12"/>
                    <a:pt x="218" y="1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15"/>
                    <a:pt x="230" y="14"/>
                    <a:pt x="226" y="14"/>
                  </a:cubicBezTo>
                  <a:cubicBezTo>
                    <a:pt x="226" y="14"/>
                    <a:pt x="226" y="14"/>
                    <a:pt x="226" y="13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2"/>
                    <a:pt x="230" y="12"/>
                    <a:pt x="232" y="12"/>
                  </a:cubicBezTo>
                  <a:cubicBezTo>
                    <a:pt x="233" y="12"/>
                    <a:pt x="235" y="12"/>
                    <a:pt x="236" y="12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4"/>
                    <a:pt x="236" y="14"/>
                    <a:pt x="236" y="14"/>
                  </a:cubicBezTo>
                  <a:cubicBezTo>
                    <a:pt x="233" y="14"/>
                    <a:pt x="233" y="15"/>
                    <a:pt x="233" y="22"/>
                  </a:cubicBezTo>
                  <a:cubicBezTo>
                    <a:pt x="233" y="38"/>
                    <a:pt x="233" y="38"/>
                    <a:pt x="233" y="38"/>
                  </a:cubicBezTo>
                  <a:lnTo>
                    <a:pt x="230" y="38"/>
                  </a:lnTo>
                  <a:close/>
                  <a:moveTo>
                    <a:pt x="290" y="38"/>
                  </a:moveTo>
                  <a:cubicBezTo>
                    <a:pt x="284" y="38"/>
                    <a:pt x="278" y="33"/>
                    <a:pt x="278" y="25"/>
                  </a:cubicBezTo>
                  <a:cubicBezTo>
                    <a:pt x="278" y="16"/>
                    <a:pt x="284" y="11"/>
                    <a:pt x="290" y="11"/>
                  </a:cubicBezTo>
                  <a:cubicBezTo>
                    <a:pt x="297" y="11"/>
                    <a:pt x="302" y="16"/>
                    <a:pt x="302" y="24"/>
                  </a:cubicBezTo>
                  <a:cubicBezTo>
                    <a:pt x="302" y="33"/>
                    <a:pt x="297" y="38"/>
                    <a:pt x="290" y="38"/>
                  </a:cubicBezTo>
                  <a:close/>
                  <a:moveTo>
                    <a:pt x="290" y="14"/>
                  </a:moveTo>
                  <a:cubicBezTo>
                    <a:pt x="285" y="14"/>
                    <a:pt x="283" y="17"/>
                    <a:pt x="283" y="25"/>
                  </a:cubicBezTo>
                  <a:cubicBezTo>
                    <a:pt x="283" y="32"/>
                    <a:pt x="286" y="36"/>
                    <a:pt x="291" y="36"/>
                  </a:cubicBezTo>
                  <a:cubicBezTo>
                    <a:pt x="295" y="36"/>
                    <a:pt x="298" y="32"/>
                    <a:pt x="298" y="24"/>
                  </a:cubicBezTo>
                  <a:cubicBezTo>
                    <a:pt x="298" y="17"/>
                    <a:pt x="294" y="14"/>
                    <a:pt x="290" y="14"/>
                  </a:cubicBezTo>
                  <a:close/>
                  <a:moveTo>
                    <a:pt x="324" y="38"/>
                  </a:moveTo>
                  <a:cubicBezTo>
                    <a:pt x="323" y="36"/>
                    <a:pt x="322" y="35"/>
                    <a:pt x="321" y="34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27"/>
                    <a:pt x="310" y="27"/>
                    <a:pt x="310" y="27"/>
                  </a:cubicBezTo>
                  <a:cubicBezTo>
                    <a:pt x="310" y="34"/>
                    <a:pt x="310" y="35"/>
                    <a:pt x="314" y="35"/>
                  </a:cubicBezTo>
                  <a:cubicBezTo>
                    <a:pt x="314" y="35"/>
                    <a:pt x="314" y="36"/>
                    <a:pt x="314" y="36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13" y="37"/>
                    <a:pt x="310" y="37"/>
                    <a:pt x="308" y="37"/>
                  </a:cubicBezTo>
                  <a:cubicBezTo>
                    <a:pt x="306" y="37"/>
                    <a:pt x="305" y="37"/>
                    <a:pt x="303" y="37"/>
                  </a:cubicBezTo>
                  <a:cubicBezTo>
                    <a:pt x="303" y="36"/>
                    <a:pt x="303" y="36"/>
                    <a:pt x="303" y="36"/>
                  </a:cubicBezTo>
                  <a:cubicBezTo>
                    <a:pt x="303" y="36"/>
                    <a:pt x="304" y="35"/>
                    <a:pt x="304" y="35"/>
                  </a:cubicBezTo>
                  <a:cubicBezTo>
                    <a:pt x="307" y="35"/>
                    <a:pt x="307" y="34"/>
                    <a:pt x="307" y="27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07" y="14"/>
                    <a:pt x="307" y="14"/>
                    <a:pt x="304" y="14"/>
                  </a:cubicBezTo>
                  <a:cubicBezTo>
                    <a:pt x="304" y="14"/>
                    <a:pt x="303" y="14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5" y="12"/>
                    <a:pt x="307" y="12"/>
                    <a:pt x="308" y="12"/>
                  </a:cubicBezTo>
                  <a:cubicBezTo>
                    <a:pt x="309" y="12"/>
                    <a:pt x="311" y="12"/>
                    <a:pt x="312" y="12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4" y="15"/>
                    <a:pt x="324" y="14"/>
                    <a:pt x="320" y="14"/>
                  </a:cubicBezTo>
                  <a:cubicBezTo>
                    <a:pt x="320" y="14"/>
                    <a:pt x="320" y="14"/>
                    <a:pt x="320" y="13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1" y="12"/>
                    <a:pt x="324" y="12"/>
                    <a:pt x="326" y="12"/>
                  </a:cubicBezTo>
                  <a:cubicBezTo>
                    <a:pt x="328" y="12"/>
                    <a:pt x="329" y="12"/>
                    <a:pt x="330" y="12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14"/>
                    <a:pt x="330" y="14"/>
                    <a:pt x="330" y="14"/>
                  </a:cubicBezTo>
                  <a:cubicBezTo>
                    <a:pt x="327" y="14"/>
                    <a:pt x="327" y="15"/>
                    <a:pt x="327" y="22"/>
                  </a:cubicBezTo>
                  <a:cubicBezTo>
                    <a:pt x="327" y="38"/>
                    <a:pt x="327" y="38"/>
                    <a:pt x="327" y="38"/>
                  </a:cubicBezTo>
                  <a:lnTo>
                    <a:pt x="324" y="38"/>
                  </a:lnTo>
                  <a:close/>
                  <a:moveTo>
                    <a:pt x="335" y="36"/>
                  </a:moveTo>
                  <a:cubicBezTo>
                    <a:pt x="334" y="37"/>
                    <a:pt x="334" y="37"/>
                    <a:pt x="334" y="37"/>
                  </a:cubicBezTo>
                  <a:cubicBezTo>
                    <a:pt x="334" y="37"/>
                    <a:pt x="334" y="37"/>
                    <a:pt x="333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1"/>
                    <a:pt x="333" y="29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34" y="29"/>
                    <a:pt x="334" y="29"/>
                    <a:pt x="334" y="30"/>
                  </a:cubicBezTo>
                  <a:cubicBezTo>
                    <a:pt x="335" y="33"/>
                    <a:pt x="337" y="36"/>
                    <a:pt x="340" y="36"/>
                  </a:cubicBezTo>
                  <a:cubicBezTo>
                    <a:pt x="343" y="36"/>
                    <a:pt x="345" y="34"/>
                    <a:pt x="345" y="32"/>
                  </a:cubicBezTo>
                  <a:cubicBezTo>
                    <a:pt x="345" y="25"/>
                    <a:pt x="333" y="27"/>
                    <a:pt x="333" y="19"/>
                  </a:cubicBezTo>
                  <a:cubicBezTo>
                    <a:pt x="333" y="14"/>
                    <a:pt x="336" y="11"/>
                    <a:pt x="340" y="11"/>
                  </a:cubicBezTo>
                  <a:cubicBezTo>
                    <a:pt x="342" y="11"/>
                    <a:pt x="344" y="12"/>
                    <a:pt x="345" y="13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47" y="13"/>
                    <a:pt x="347" y="17"/>
                    <a:pt x="347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5" y="16"/>
                    <a:pt x="343" y="14"/>
                    <a:pt x="340" y="14"/>
                  </a:cubicBezTo>
                  <a:cubicBezTo>
                    <a:pt x="337" y="14"/>
                    <a:pt x="336" y="15"/>
                    <a:pt x="336" y="17"/>
                  </a:cubicBezTo>
                  <a:cubicBezTo>
                    <a:pt x="336" y="23"/>
                    <a:pt x="349" y="21"/>
                    <a:pt x="349" y="30"/>
                  </a:cubicBezTo>
                  <a:cubicBezTo>
                    <a:pt x="349" y="35"/>
                    <a:pt x="345" y="38"/>
                    <a:pt x="340" y="38"/>
                  </a:cubicBezTo>
                  <a:cubicBezTo>
                    <a:pt x="338" y="38"/>
                    <a:pt x="336" y="37"/>
                    <a:pt x="335" y="36"/>
                  </a:cubicBezTo>
                  <a:close/>
                  <a:moveTo>
                    <a:pt x="364" y="38"/>
                  </a:moveTo>
                  <a:cubicBezTo>
                    <a:pt x="357" y="38"/>
                    <a:pt x="354" y="35"/>
                    <a:pt x="354" y="28"/>
                  </a:cubicBezTo>
                  <a:cubicBezTo>
                    <a:pt x="354" y="19"/>
                    <a:pt x="354" y="19"/>
                    <a:pt x="354" y="19"/>
                  </a:cubicBezTo>
                  <a:cubicBezTo>
                    <a:pt x="354" y="14"/>
                    <a:pt x="354" y="14"/>
                    <a:pt x="350" y="14"/>
                  </a:cubicBezTo>
                  <a:cubicBezTo>
                    <a:pt x="350" y="14"/>
                    <a:pt x="350" y="14"/>
                    <a:pt x="350" y="13"/>
                  </a:cubicBezTo>
                  <a:cubicBezTo>
                    <a:pt x="350" y="12"/>
                    <a:pt x="350" y="12"/>
                    <a:pt x="350" y="12"/>
                  </a:cubicBezTo>
                  <a:cubicBezTo>
                    <a:pt x="352" y="12"/>
                    <a:pt x="354" y="12"/>
                    <a:pt x="356" y="12"/>
                  </a:cubicBezTo>
                  <a:cubicBezTo>
                    <a:pt x="357" y="12"/>
                    <a:pt x="360" y="12"/>
                    <a:pt x="361" y="12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1" y="14"/>
                    <a:pt x="361" y="14"/>
                    <a:pt x="361" y="14"/>
                  </a:cubicBezTo>
                  <a:cubicBezTo>
                    <a:pt x="358" y="14"/>
                    <a:pt x="358" y="14"/>
                    <a:pt x="358" y="19"/>
                  </a:cubicBezTo>
                  <a:cubicBezTo>
                    <a:pt x="358" y="29"/>
                    <a:pt x="358" y="29"/>
                    <a:pt x="358" y="29"/>
                  </a:cubicBezTo>
                  <a:cubicBezTo>
                    <a:pt x="358" y="33"/>
                    <a:pt x="360" y="35"/>
                    <a:pt x="364" y="35"/>
                  </a:cubicBezTo>
                  <a:cubicBezTo>
                    <a:pt x="369" y="35"/>
                    <a:pt x="371" y="33"/>
                    <a:pt x="371" y="28"/>
                  </a:cubicBezTo>
                  <a:cubicBezTo>
                    <a:pt x="371" y="22"/>
                    <a:pt x="371" y="22"/>
                    <a:pt x="371" y="22"/>
                  </a:cubicBezTo>
                  <a:cubicBezTo>
                    <a:pt x="371" y="15"/>
                    <a:pt x="371" y="14"/>
                    <a:pt x="366" y="14"/>
                  </a:cubicBezTo>
                  <a:cubicBezTo>
                    <a:pt x="366" y="14"/>
                    <a:pt x="366" y="14"/>
                    <a:pt x="366" y="13"/>
                  </a:cubicBez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70" y="12"/>
                    <a:pt x="372" y="12"/>
                  </a:cubicBezTo>
                  <a:cubicBezTo>
                    <a:pt x="374" y="12"/>
                    <a:pt x="374" y="12"/>
                    <a:pt x="376" y="12"/>
                  </a:cubicBezTo>
                  <a:cubicBezTo>
                    <a:pt x="376" y="13"/>
                    <a:pt x="376" y="13"/>
                    <a:pt x="376" y="13"/>
                  </a:cubicBezTo>
                  <a:cubicBezTo>
                    <a:pt x="376" y="14"/>
                    <a:pt x="376" y="14"/>
                    <a:pt x="376" y="14"/>
                  </a:cubicBezTo>
                  <a:cubicBezTo>
                    <a:pt x="373" y="14"/>
                    <a:pt x="373" y="15"/>
                    <a:pt x="373" y="22"/>
                  </a:cubicBezTo>
                  <a:cubicBezTo>
                    <a:pt x="373" y="28"/>
                    <a:pt x="373" y="28"/>
                    <a:pt x="373" y="28"/>
                  </a:cubicBezTo>
                  <a:cubicBezTo>
                    <a:pt x="373" y="35"/>
                    <a:pt x="370" y="38"/>
                    <a:pt x="364" y="38"/>
                  </a:cubicBezTo>
                  <a:close/>
                  <a:moveTo>
                    <a:pt x="392" y="37"/>
                  </a:moveTo>
                  <a:cubicBezTo>
                    <a:pt x="383" y="37"/>
                    <a:pt x="383" y="37"/>
                    <a:pt x="383" y="37"/>
                  </a:cubicBezTo>
                  <a:cubicBezTo>
                    <a:pt x="381" y="37"/>
                    <a:pt x="379" y="37"/>
                    <a:pt x="378" y="37"/>
                  </a:cubicBezTo>
                  <a:cubicBezTo>
                    <a:pt x="378" y="36"/>
                    <a:pt x="378" y="36"/>
                    <a:pt x="378" y="36"/>
                  </a:cubicBezTo>
                  <a:cubicBezTo>
                    <a:pt x="378" y="36"/>
                    <a:pt x="378" y="35"/>
                    <a:pt x="378" y="35"/>
                  </a:cubicBezTo>
                  <a:cubicBezTo>
                    <a:pt x="381" y="35"/>
                    <a:pt x="381" y="35"/>
                    <a:pt x="381" y="30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4"/>
                    <a:pt x="381" y="14"/>
                    <a:pt x="378" y="14"/>
                  </a:cubicBezTo>
                  <a:cubicBezTo>
                    <a:pt x="378" y="14"/>
                    <a:pt x="378" y="14"/>
                    <a:pt x="378" y="13"/>
                  </a:cubicBezTo>
                  <a:cubicBezTo>
                    <a:pt x="378" y="12"/>
                    <a:pt x="378" y="12"/>
                    <a:pt x="378" y="12"/>
                  </a:cubicBezTo>
                  <a:cubicBezTo>
                    <a:pt x="379" y="12"/>
                    <a:pt x="382" y="12"/>
                    <a:pt x="383" y="12"/>
                  </a:cubicBezTo>
                  <a:cubicBezTo>
                    <a:pt x="385" y="12"/>
                    <a:pt x="388" y="12"/>
                    <a:pt x="390" y="12"/>
                  </a:cubicBezTo>
                  <a:cubicBezTo>
                    <a:pt x="390" y="13"/>
                    <a:pt x="390" y="13"/>
                    <a:pt x="390" y="13"/>
                  </a:cubicBezTo>
                  <a:cubicBezTo>
                    <a:pt x="390" y="14"/>
                    <a:pt x="390" y="14"/>
                    <a:pt x="389" y="14"/>
                  </a:cubicBezTo>
                  <a:cubicBezTo>
                    <a:pt x="386" y="14"/>
                    <a:pt x="386" y="14"/>
                    <a:pt x="386" y="19"/>
                  </a:cubicBezTo>
                  <a:cubicBezTo>
                    <a:pt x="386" y="30"/>
                    <a:pt x="386" y="30"/>
                    <a:pt x="386" y="30"/>
                  </a:cubicBezTo>
                  <a:cubicBezTo>
                    <a:pt x="386" y="35"/>
                    <a:pt x="386" y="35"/>
                    <a:pt x="389" y="35"/>
                  </a:cubicBezTo>
                  <a:cubicBezTo>
                    <a:pt x="391" y="35"/>
                    <a:pt x="391" y="35"/>
                    <a:pt x="391" y="35"/>
                  </a:cubicBezTo>
                  <a:cubicBezTo>
                    <a:pt x="394" y="35"/>
                    <a:pt x="395" y="34"/>
                    <a:pt x="396" y="29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397" y="31"/>
                    <a:pt x="397" y="35"/>
                    <a:pt x="397" y="37"/>
                  </a:cubicBezTo>
                  <a:cubicBezTo>
                    <a:pt x="396" y="37"/>
                    <a:pt x="395" y="37"/>
                    <a:pt x="392" y="37"/>
                  </a:cubicBezTo>
                  <a:close/>
                  <a:moveTo>
                    <a:pt x="407" y="37"/>
                  </a:moveTo>
                  <a:cubicBezTo>
                    <a:pt x="405" y="37"/>
                    <a:pt x="403" y="37"/>
                    <a:pt x="401" y="37"/>
                  </a:cubicBezTo>
                  <a:cubicBezTo>
                    <a:pt x="401" y="36"/>
                    <a:pt x="401" y="36"/>
                    <a:pt x="401" y="36"/>
                  </a:cubicBezTo>
                  <a:cubicBezTo>
                    <a:pt x="401" y="36"/>
                    <a:pt x="401" y="35"/>
                    <a:pt x="401" y="35"/>
                  </a:cubicBezTo>
                  <a:cubicBezTo>
                    <a:pt x="404" y="35"/>
                    <a:pt x="404" y="35"/>
                    <a:pt x="404" y="30"/>
                  </a:cubicBezTo>
                  <a:cubicBezTo>
                    <a:pt x="404" y="15"/>
                    <a:pt x="404" y="15"/>
                    <a:pt x="404" y="15"/>
                  </a:cubicBezTo>
                  <a:cubicBezTo>
                    <a:pt x="404" y="14"/>
                    <a:pt x="404" y="14"/>
                    <a:pt x="404" y="14"/>
                  </a:cubicBezTo>
                  <a:cubicBezTo>
                    <a:pt x="402" y="14"/>
                    <a:pt x="402" y="14"/>
                    <a:pt x="402" y="14"/>
                  </a:cubicBezTo>
                  <a:cubicBezTo>
                    <a:pt x="399" y="14"/>
                    <a:pt x="397" y="14"/>
                    <a:pt x="397" y="19"/>
                  </a:cubicBezTo>
                  <a:cubicBezTo>
                    <a:pt x="397" y="19"/>
                    <a:pt x="397" y="19"/>
                    <a:pt x="396" y="19"/>
                  </a:cubicBezTo>
                  <a:cubicBezTo>
                    <a:pt x="395" y="19"/>
                    <a:pt x="395" y="19"/>
                    <a:pt x="395" y="19"/>
                  </a:cubicBezTo>
                  <a:cubicBezTo>
                    <a:pt x="395" y="18"/>
                    <a:pt x="395" y="14"/>
                    <a:pt x="395" y="12"/>
                  </a:cubicBezTo>
                  <a:cubicBezTo>
                    <a:pt x="397" y="12"/>
                    <a:pt x="399" y="12"/>
                    <a:pt x="402" y="12"/>
                  </a:cubicBezTo>
                  <a:cubicBezTo>
                    <a:pt x="411" y="12"/>
                    <a:pt x="411" y="12"/>
                    <a:pt x="411" y="12"/>
                  </a:cubicBezTo>
                  <a:cubicBezTo>
                    <a:pt x="414" y="12"/>
                    <a:pt x="416" y="12"/>
                    <a:pt x="418" y="12"/>
                  </a:cubicBezTo>
                  <a:cubicBezTo>
                    <a:pt x="418" y="14"/>
                    <a:pt x="418" y="18"/>
                    <a:pt x="418" y="19"/>
                  </a:cubicBezTo>
                  <a:cubicBezTo>
                    <a:pt x="417" y="19"/>
                    <a:pt x="417" y="19"/>
                    <a:pt x="417" y="19"/>
                  </a:cubicBezTo>
                  <a:cubicBezTo>
                    <a:pt x="417" y="19"/>
                    <a:pt x="416" y="19"/>
                    <a:pt x="416" y="19"/>
                  </a:cubicBezTo>
                  <a:cubicBezTo>
                    <a:pt x="416" y="14"/>
                    <a:pt x="414" y="14"/>
                    <a:pt x="411" y="14"/>
                  </a:cubicBezTo>
                  <a:cubicBezTo>
                    <a:pt x="409" y="14"/>
                    <a:pt x="409" y="14"/>
                    <a:pt x="409" y="14"/>
                  </a:cubicBezTo>
                  <a:cubicBezTo>
                    <a:pt x="409" y="14"/>
                    <a:pt x="409" y="14"/>
                    <a:pt x="409" y="15"/>
                  </a:cubicBezTo>
                  <a:cubicBezTo>
                    <a:pt x="409" y="30"/>
                    <a:pt x="409" y="30"/>
                    <a:pt x="409" y="30"/>
                  </a:cubicBezTo>
                  <a:cubicBezTo>
                    <a:pt x="409" y="35"/>
                    <a:pt x="409" y="35"/>
                    <a:pt x="412" y="35"/>
                  </a:cubicBezTo>
                  <a:cubicBezTo>
                    <a:pt x="412" y="35"/>
                    <a:pt x="412" y="36"/>
                    <a:pt x="412" y="36"/>
                  </a:cubicBezTo>
                  <a:cubicBezTo>
                    <a:pt x="412" y="37"/>
                    <a:pt x="412" y="37"/>
                    <a:pt x="412" y="37"/>
                  </a:cubicBezTo>
                  <a:cubicBezTo>
                    <a:pt x="410" y="37"/>
                    <a:pt x="408" y="37"/>
                    <a:pt x="407" y="37"/>
                  </a:cubicBezTo>
                  <a:close/>
                  <a:moveTo>
                    <a:pt x="425" y="37"/>
                  </a:moveTo>
                  <a:cubicBezTo>
                    <a:pt x="423" y="37"/>
                    <a:pt x="421" y="37"/>
                    <a:pt x="419" y="37"/>
                  </a:cubicBezTo>
                  <a:cubicBezTo>
                    <a:pt x="419" y="36"/>
                    <a:pt x="419" y="36"/>
                    <a:pt x="419" y="36"/>
                  </a:cubicBezTo>
                  <a:cubicBezTo>
                    <a:pt x="419" y="36"/>
                    <a:pt x="419" y="35"/>
                    <a:pt x="420" y="35"/>
                  </a:cubicBezTo>
                  <a:cubicBezTo>
                    <a:pt x="423" y="35"/>
                    <a:pt x="423" y="35"/>
                    <a:pt x="423" y="30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3" y="14"/>
                    <a:pt x="423" y="14"/>
                    <a:pt x="420" y="14"/>
                  </a:cubicBezTo>
                  <a:cubicBezTo>
                    <a:pt x="419" y="14"/>
                    <a:pt x="419" y="14"/>
                    <a:pt x="419" y="13"/>
                  </a:cubicBezTo>
                  <a:cubicBezTo>
                    <a:pt x="419" y="12"/>
                    <a:pt x="419" y="12"/>
                    <a:pt x="419" y="12"/>
                  </a:cubicBezTo>
                  <a:cubicBezTo>
                    <a:pt x="421" y="12"/>
                    <a:pt x="423" y="12"/>
                    <a:pt x="425" y="12"/>
                  </a:cubicBezTo>
                  <a:cubicBezTo>
                    <a:pt x="427" y="12"/>
                    <a:pt x="429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27" y="14"/>
                    <a:pt x="427" y="14"/>
                    <a:pt x="427" y="19"/>
                  </a:cubicBezTo>
                  <a:cubicBezTo>
                    <a:pt x="427" y="30"/>
                    <a:pt x="427" y="30"/>
                    <a:pt x="427" y="30"/>
                  </a:cubicBezTo>
                  <a:cubicBezTo>
                    <a:pt x="427" y="35"/>
                    <a:pt x="427" y="35"/>
                    <a:pt x="430" y="35"/>
                  </a:cubicBezTo>
                  <a:cubicBezTo>
                    <a:pt x="430" y="35"/>
                    <a:pt x="430" y="36"/>
                    <a:pt x="430" y="36"/>
                  </a:cubicBezTo>
                  <a:cubicBezTo>
                    <a:pt x="430" y="37"/>
                    <a:pt x="430" y="37"/>
                    <a:pt x="430" y="37"/>
                  </a:cubicBezTo>
                  <a:cubicBezTo>
                    <a:pt x="429" y="37"/>
                    <a:pt x="427" y="37"/>
                    <a:pt x="425" y="37"/>
                  </a:cubicBezTo>
                  <a:close/>
                  <a:moveTo>
                    <a:pt x="453" y="38"/>
                  </a:moveTo>
                  <a:cubicBezTo>
                    <a:pt x="452" y="36"/>
                    <a:pt x="451" y="35"/>
                    <a:pt x="450" y="34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34"/>
                    <a:pt x="438" y="35"/>
                    <a:pt x="443" y="35"/>
                  </a:cubicBezTo>
                  <a:cubicBezTo>
                    <a:pt x="443" y="35"/>
                    <a:pt x="443" y="36"/>
                    <a:pt x="443" y="36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41" y="37"/>
                    <a:pt x="439" y="37"/>
                    <a:pt x="437" y="37"/>
                  </a:cubicBezTo>
                  <a:cubicBezTo>
                    <a:pt x="435" y="37"/>
                    <a:pt x="434" y="37"/>
                    <a:pt x="432" y="37"/>
                  </a:cubicBezTo>
                  <a:cubicBezTo>
                    <a:pt x="432" y="36"/>
                    <a:pt x="432" y="36"/>
                    <a:pt x="432" y="36"/>
                  </a:cubicBezTo>
                  <a:cubicBezTo>
                    <a:pt x="432" y="36"/>
                    <a:pt x="432" y="35"/>
                    <a:pt x="433" y="35"/>
                  </a:cubicBezTo>
                  <a:cubicBezTo>
                    <a:pt x="436" y="35"/>
                    <a:pt x="436" y="34"/>
                    <a:pt x="436" y="27"/>
                  </a:cubicBezTo>
                  <a:cubicBezTo>
                    <a:pt x="436" y="19"/>
                    <a:pt x="436" y="19"/>
                    <a:pt x="436" y="19"/>
                  </a:cubicBezTo>
                  <a:cubicBezTo>
                    <a:pt x="436" y="14"/>
                    <a:pt x="436" y="14"/>
                    <a:pt x="433" y="14"/>
                  </a:cubicBezTo>
                  <a:cubicBezTo>
                    <a:pt x="432" y="14"/>
                    <a:pt x="432" y="14"/>
                    <a:pt x="432" y="13"/>
                  </a:cubicBezTo>
                  <a:cubicBezTo>
                    <a:pt x="432" y="12"/>
                    <a:pt x="432" y="12"/>
                    <a:pt x="432" y="12"/>
                  </a:cubicBezTo>
                  <a:cubicBezTo>
                    <a:pt x="434" y="12"/>
                    <a:pt x="436" y="12"/>
                    <a:pt x="437" y="12"/>
                  </a:cubicBezTo>
                  <a:cubicBezTo>
                    <a:pt x="438" y="12"/>
                    <a:pt x="439" y="12"/>
                    <a:pt x="440" y="12"/>
                  </a:cubicBezTo>
                  <a:cubicBezTo>
                    <a:pt x="453" y="30"/>
                    <a:pt x="453" y="30"/>
                    <a:pt x="453" y="30"/>
                  </a:cubicBezTo>
                  <a:cubicBezTo>
                    <a:pt x="453" y="22"/>
                    <a:pt x="453" y="22"/>
                    <a:pt x="453" y="22"/>
                  </a:cubicBezTo>
                  <a:cubicBezTo>
                    <a:pt x="453" y="15"/>
                    <a:pt x="453" y="14"/>
                    <a:pt x="449" y="14"/>
                  </a:cubicBezTo>
                  <a:cubicBezTo>
                    <a:pt x="449" y="14"/>
                    <a:pt x="449" y="14"/>
                    <a:pt x="449" y="13"/>
                  </a:cubicBezTo>
                  <a:cubicBezTo>
                    <a:pt x="449" y="12"/>
                    <a:pt x="449" y="12"/>
                    <a:pt x="449" y="12"/>
                  </a:cubicBezTo>
                  <a:cubicBezTo>
                    <a:pt x="450" y="12"/>
                    <a:pt x="453" y="12"/>
                    <a:pt x="455" y="12"/>
                  </a:cubicBezTo>
                  <a:cubicBezTo>
                    <a:pt x="456" y="12"/>
                    <a:pt x="458" y="12"/>
                    <a:pt x="459" y="12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6" y="14"/>
                    <a:pt x="456" y="15"/>
                    <a:pt x="456" y="22"/>
                  </a:cubicBezTo>
                  <a:cubicBezTo>
                    <a:pt x="456" y="38"/>
                    <a:pt x="456" y="38"/>
                    <a:pt x="456" y="38"/>
                  </a:cubicBezTo>
                  <a:lnTo>
                    <a:pt x="453" y="38"/>
                  </a:lnTo>
                  <a:close/>
                  <a:moveTo>
                    <a:pt x="484" y="27"/>
                  </a:moveTo>
                  <a:cubicBezTo>
                    <a:pt x="484" y="28"/>
                    <a:pt x="484" y="28"/>
                    <a:pt x="484" y="28"/>
                  </a:cubicBezTo>
                  <a:cubicBezTo>
                    <a:pt x="481" y="28"/>
                    <a:pt x="481" y="28"/>
                    <a:pt x="481" y="31"/>
                  </a:cubicBezTo>
                  <a:cubicBezTo>
                    <a:pt x="481" y="32"/>
                    <a:pt x="481" y="32"/>
                    <a:pt x="481" y="32"/>
                  </a:cubicBezTo>
                  <a:cubicBezTo>
                    <a:pt x="481" y="33"/>
                    <a:pt x="482" y="34"/>
                    <a:pt x="482" y="34"/>
                  </a:cubicBezTo>
                  <a:cubicBezTo>
                    <a:pt x="482" y="35"/>
                    <a:pt x="481" y="35"/>
                    <a:pt x="481" y="35"/>
                  </a:cubicBezTo>
                  <a:cubicBezTo>
                    <a:pt x="479" y="35"/>
                    <a:pt x="478" y="38"/>
                    <a:pt x="472" y="38"/>
                  </a:cubicBezTo>
                  <a:cubicBezTo>
                    <a:pt x="465" y="38"/>
                    <a:pt x="460" y="33"/>
                    <a:pt x="460" y="24"/>
                  </a:cubicBezTo>
                  <a:cubicBezTo>
                    <a:pt x="460" y="17"/>
                    <a:pt x="464" y="11"/>
                    <a:pt x="472" y="11"/>
                  </a:cubicBezTo>
                  <a:cubicBezTo>
                    <a:pt x="475" y="11"/>
                    <a:pt x="477" y="12"/>
                    <a:pt x="478" y="13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80" y="12"/>
                    <a:pt x="480" y="12"/>
                    <a:pt x="480" y="12"/>
                  </a:cubicBezTo>
                  <a:cubicBezTo>
                    <a:pt x="480" y="13"/>
                    <a:pt x="480" y="18"/>
                    <a:pt x="480" y="19"/>
                  </a:cubicBezTo>
                  <a:cubicBezTo>
                    <a:pt x="479" y="19"/>
                    <a:pt x="479" y="19"/>
                    <a:pt x="479" y="19"/>
                  </a:cubicBezTo>
                  <a:cubicBezTo>
                    <a:pt x="479" y="19"/>
                    <a:pt x="478" y="19"/>
                    <a:pt x="478" y="19"/>
                  </a:cubicBezTo>
                  <a:cubicBezTo>
                    <a:pt x="478" y="15"/>
                    <a:pt x="476" y="14"/>
                    <a:pt x="472" y="14"/>
                  </a:cubicBezTo>
                  <a:cubicBezTo>
                    <a:pt x="466" y="14"/>
                    <a:pt x="465" y="19"/>
                    <a:pt x="465" y="24"/>
                  </a:cubicBezTo>
                  <a:cubicBezTo>
                    <a:pt x="465" y="30"/>
                    <a:pt x="467" y="36"/>
                    <a:pt x="473" y="36"/>
                  </a:cubicBezTo>
                  <a:cubicBezTo>
                    <a:pt x="476" y="36"/>
                    <a:pt x="477" y="34"/>
                    <a:pt x="477" y="32"/>
                  </a:cubicBezTo>
                  <a:cubicBezTo>
                    <a:pt x="477" y="31"/>
                    <a:pt x="477" y="31"/>
                    <a:pt x="477" y="31"/>
                  </a:cubicBezTo>
                  <a:cubicBezTo>
                    <a:pt x="477" y="28"/>
                    <a:pt x="477" y="28"/>
                    <a:pt x="473" y="28"/>
                  </a:cubicBezTo>
                  <a:cubicBezTo>
                    <a:pt x="473" y="28"/>
                    <a:pt x="473" y="28"/>
                    <a:pt x="473" y="27"/>
                  </a:cubicBezTo>
                  <a:cubicBezTo>
                    <a:pt x="473" y="26"/>
                    <a:pt x="473" y="26"/>
                    <a:pt x="473" y="26"/>
                  </a:cubicBezTo>
                  <a:cubicBezTo>
                    <a:pt x="475" y="26"/>
                    <a:pt x="477" y="26"/>
                    <a:pt x="479" y="26"/>
                  </a:cubicBezTo>
                  <a:cubicBezTo>
                    <a:pt x="481" y="26"/>
                    <a:pt x="482" y="26"/>
                    <a:pt x="484" y="26"/>
                  </a:cubicBezTo>
                  <a:lnTo>
                    <a:pt x="484" y="27"/>
                  </a:lnTo>
                  <a:close/>
                  <a:moveTo>
                    <a:pt x="526" y="23"/>
                  </a:moveTo>
                  <a:cubicBezTo>
                    <a:pt x="526" y="23"/>
                    <a:pt x="526" y="23"/>
                    <a:pt x="525" y="23"/>
                  </a:cubicBezTo>
                  <a:cubicBezTo>
                    <a:pt x="522" y="24"/>
                    <a:pt x="522" y="24"/>
                    <a:pt x="522" y="28"/>
                  </a:cubicBezTo>
                  <a:cubicBezTo>
                    <a:pt x="522" y="30"/>
                    <a:pt x="522" y="30"/>
                    <a:pt x="522" y="30"/>
                  </a:cubicBezTo>
                  <a:cubicBezTo>
                    <a:pt x="522" y="31"/>
                    <a:pt x="522" y="32"/>
                    <a:pt x="522" y="33"/>
                  </a:cubicBezTo>
                  <a:cubicBezTo>
                    <a:pt x="522" y="33"/>
                    <a:pt x="522" y="33"/>
                    <a:pt x="522" y="33"/>
                  </a:cubicBezTo>
                  <a:cubicBezTo>
                    <a:pt x="519" y="33"/>
                    <a:pt x="517" y="38"/>
                    <a:pt x="510" y="38"/>
                  </a:cubicBezTo>
                  <a:cubicBezTo>
                    <a:pt x="500" y="38"/>
                    <a:pt x="493" y="31"/>
                    <a:pt x="493" y="19"/>
                  </a:cubicBezTo>
                  <a:cubicBezTo>
                    <a:pt x="493" y="8"/>
                    <a:pt x="499" y="0"/>
                    <a:pt x="510" y="0"/>
                  </a:cubicBezTo>
                  <a:cubicBezTo>
                    <a:pt x="513" y="0"/>
                    <a:pt x="516" y="1"/>
                    <a:pt x="518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9" y="1"/>
                    <a:pt x="519" y="1"/>
                    <a:pt x="519" y="1"/>
                  </a:cubicBezTo>
                  <a:cubicBezTo>
                    <a:pt x="519" y="0"/>
                    <a:pt x="519" y="0"/>
                    <a:pt x="52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20" y="3"/>
                    <a:pt x="520" y="8"/>
                    <a:pt x="520" y="11"/>
                  </a:cubicBezTo>
                  <a:cubicBezTo>
                    <a:pt x="519" y="11"/>
                    <a:pt x="519" y="11"/>
                    <a:pt x="519" y="11"/>
                  </a:cubicBezTo>
                  <a:cubicBezTo>
                    <a:pt x="519" y="11"/>
                    <a:pt x="519" y="11"/>
                    <a:pt x="519" y="10"/>
                  </a:cubicBezTo>
                  <a:cubicBezTo>
                    <a:pt x="517" y="5"/>
                    <a:pt x="515" y="2"/>
                    <a:pt x="510" y="2"/>
                  </a:cubicBezTo>
                  <a:cubicBezTo>
                    <a:pt x="501" y="2"/>
                    <a:pt x="499" y="11"/>
                    <a:pt x="499" y="19"/>
                  </a:cubicBezTo>
                  <a:cubicBezTo>
                    <a:pt x="499" y="27"/>
                    <a:pt x="501" y="35"/>
                    <a:pt x="510" y="35"/>
                  </a:cubicBezTo>
                  <a:cubicBezTo>
                    <a:pt x="515" y="35"/>
                    <a:pt x="518" y="33"/>
                    <a:pt x="518" y="30"/>
                  </a:cubicBezTo>
                  <a:cubicBezTo>
                    <a:pt x="518" y="28"/>
                    <a:pt x="518" y="28"/>
                    <a:pt x="518" y="28"/>
                  </a:cubicBezTo>
                  <a:cubicBezTo>
                    <a:pt x="518" y="24"/>
                    <a:pt x="518" y="24"/>
                    <a:pt x="512" y="23"/>
                  </a:cubicBezTo>
                  <a:cubicBezTo>
                    <a:pt x="512" y="23"/>
                    <a:pt x="512" y="23"/>
                    <a:pt x="512" y="23"/>
                  </a:cubicBezTo>
                  <a:cubicBezTo>
                    <a:pt x="512" y="21"/>
                    <a:pt x="512" y="21"/>
                    <a:pt x="512" y="21"/>
                  </a:cubicBezTo>
                  <a:cubicBezTo>
                    <a:pt x="514" y="21"/>
                    <a:pt x="517" y="21"/>
                    <a:pt x="519" y="21"/>
                  </a:cubicBezTo>
                  <a:cubicBezTo>
                    <a:pt x="522" y="21"/>
                    <a:pt x="523" y="21"/>
                    <a:pt x="526" y="21"/>
                  </a:cubicBezTo>
                  <a:lnTo>
                    <a:pt x="526" y="23"/>
                  </a:lnTo>
                  <a:close/>
                  <a:moveTo>
                    <a:pt x="540" y="24"/>
                  </a:moveTo>
                  <a:cubicBezTo>
                    <a:pt x="540" y="24"/>
                    <a:pt x="540" y="24"/>
                    <a:pt x="540" y="24"/>
                  </a:cubicBezTo>
                  <a:cubicBezTo>
                    <a:pt x="548" y="25"/>
                    <a:pt x="546" y="35"/>
                    <a:pt x="549" y="35"/>
                  </a:cubicBezTo>
                  <a:cubicBezTo>
                    <a:pt x="549" y="35"/>
                    <a:pt x="550" y="34"/>
                    <a:pt x="550" y="34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0" y="36"/>
                    <a:pt x="549" y="37"/>
                    <a:pt x="547" y="37"/>
                  </a:cubicBezTo>
                  <a:cubicBezTo>
                    <a:pt x="543" y="37"/>
                    <a:pt x="543" y="34"/>
                    <a:pt x="542" y="30"/>
                  </a:cubicBezTo>
                  <a:cubicBezTo>
                    <a:pt x="541" y="27"/>
                    <a:pt x="540" y="25"/>
                    <a:pt x="537" y="25"/>
                  </a:cubicBezTo>
                  <a:cubicBezTo>
                    <a:pt x="534" y="25"/>
                    <a:pt x="534" y="25"/>
                    <a:pt x="534" y="25"/>
                  </a:cubicBezTo>
                  <a:cubicBezTo>
                    <a:pt x="534" y="30"/>
                    <a:pt x="534" y="30"/>
                    <a:pt x="534" y="30"/>
                  </a:cubicBezTo>
                  <a:cubicBezTo>
                    <a:pt x="534" y="35"/>
                    <a:pt x="534" y="35"/>
                    <a:pt x="537" y="35"/>
                  </a:cubicBezTo>
                  <a:cubicBezTo>
                    <a:pt x="538" y="35"/>
                    <a:pt x="538" y="36"/>
                    <a:pt x="538" y="36"/>
                  </a:cubicBezTo>
                  <a:cubicBezTo>
                    <a:pt x="538" y="37"/>
                    <a:pt x="538" y="37"/>
                    <a:pt x="538" y="37"/>
                  </a:cubicBezTo>
                  <a:cubicBezTo>
                    <a:pt x="536" y="37"/>
                    <a:pt x="534" y="37"/>
                    <a:pt x="532" y="37"/>
                  </a:cubicBezTo>
                  <a:cubicBezTo>
                    <a:pt x="530" y="37"/>
                    <a:pt x="528" y="37"/>
                    <a:pt x="527" y="37"/>
                  </a:cubicBezTo>
                  <a:cubicBezTo>
                    <a:pt x="527" y="36"/>
                    <a:pt x="527" y="36"/>
                    <a:pt x="527" y="36"/>
                  </a:cubicBezTo>
                  <a:cubicBezTo>
                    <a:pt x="527" y="36"/>
                    <a:pt x="527" y="35"/>
                    <a:pt x="527" y="35"/>
                  </a:cubicBezTo>
                  <a:cubicBezTo>
                    <a:pt x="530" y="35"/>
                    <a:pt x="530" y="35"/>
                    <a:pt x="530" y="30"/>
                  </a:cubicBezTo>
                  <a:cubicBezTo>
                    <a:pt x="530" y="19"/>
                    <a:pt x="530" y="19"/>
                    <a:pt x="530" y="19"/>
                  </a:cubicBezTo>
                  <a:cubicBezTo>
                    <a:pt x="530" y="14"/>
                    <a:pt x="530" y="14"/>
                    <a:pt x="527" y="14"/>
                  </a:cubicBezTo>
                  <a:cubicBezTo>
                    <a:pt x="527" y="14"/>
                    <a:pt x="527" y="14"/>
                    <a:pt x="527" y="13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8" y="12"/>
                    <a:pt x="530" y="12"/>
                    <a:pt x="532" y="12"/>
                  </a:cubicBezTo>
                  <a:cubicBezTo>
                    <a:pt x="534" y="12"/>
                    <a:pt x="536" y="12"/>
                    <a:pt x="538" y="12"/>
                  </a:cubicBezTo>
                  <a:cubicBezTo>
                    <a:pt x="543" y="12"/>
                    <a:pt x="547" y="14"/>
                    <a:pt x="547" y="18"/>
                  </a:cubicBezTo>
                  <a:cubicBezTo>
                    <a:pt x="547" y="21"/>
                    <a:pt x="546" y="23"/>
                    <a:pt x="540" y="24"/>
                  </a:cubicBezTo>
                  <a:close/>
                  <a:moveTo>
                    <a:pt x="538" y="14"/>
                  </a:moveTo>
                  <a:cubicBezTo>
                    <a:pt x="537" y="14"/>
                    <a:pt x="534" y="14"/>
                    <a:pt x="534" y="14"/>
                  </a:cubicBezTo>
                  <a:cubicBezTo>
                    <a:pt x="534" y="23"/>
                    <a:pt x="534" y="23"/>
                    <a:pt x="534" y="23"/>
                  </a:cubicBezTo>
                  <a:cubicBezTo>
                    <a:pt x="537" y="23"/>
                    <a:pt x="537" y="23"/>
                    <a:pt x="537" y="23"/>
                  </a:cubicBezTo>
                  <a:cubicBezTo>
                    <a:pt x="540" y="23"/>
                    <a:pt x="543" y="22"/>
                    <a:pt x="543" y="18"/>
                  </a:cubicBezTo>
                  <a:cubicBezTo>
                    <a:pt x="543" y="15"/>
                    <a:pt x="540" y="14"/>
                    <a:pt x="538" y="14"/>
                  </a:cubicBezTo>
                  <a:close/>
                  <a:moveTo>
                    <a:pt x="563" y="38"/>
                  </a:moveTo>
                  <a:cubicBezTo>
                    <a:pt x="556" y="38"/>
                    <a:pt x="551" y="33"/>
                    <a:pt x="551" y="25"/>
                  </a:cubicBezTo>
                  <a:cubicBezTo>
                    <a:pt x="551" y="16"/>
                    <a:pt x="557" y="11"/>
                    <a:pt x="563" y="11"/>
                  </a:cubicBezTo>
                  <a:cubicBezTo>
                    <a:pt x="570" y="11"/>
                    <a:pt x="575" y="16"/>
                    <a:pt x="575" y="24"/>
                  </a:cubicBezTo>
                  <a:cubicBezTo>
                    <a:pt x="575" y="33"/>
                    <a:pt x="570" y="38"/>
                    <a:pt x="563" y="38"/>
                  </a:cubicBezTo>
                  <a:close/>
                  <a:moveTo>
                    <a:pt x="563" y="14"/>
                  </a:moveTo>
                  <a:cubicBezTo>
                    <a:pt x="558" y="14"/>
                    <a:pt x="556" y="17"/>
                    <a:pt x="556" y="25"/>
                  </a:cubicBezTo>
                  <a:cubicBezTo>
                    <a:pt x="556" y="32"/>
                    <a:pt x="559" y="36"/>
                    <a:pt x="563" y="36"/>
                  </a:cubicBezTo>
                  <a:cubicBezTo>
                    <a:pt x="568" y="36"/>
                    <a:pt x="570" y="32"/>
                    <a:pt x="570" y="24"/>
                  </a:cubicBezTo>
                  <a:cubicBezTo>
                    <a:pt x="570" y="17"/>
                    <a:pt x="567" y="14"/>
                    <a:pt x="563" y="14"/>
                  </a:cubicBezTo>
                  <a:close/>
                  <a:moveTo>
                    <a:pt x="590" y="38"/>
                  </a:moveTo>
                  <a:cubicBezTo>
                    <a:pt x="583" y="38"/>
                    <a:pt x="580" y="35"/>
                    <a:pt x="580" y="28"/>
                  </a:cubicBezTo>
                  <a:cubicBezTo>
                    <a:pt x="580" y="19"/>
                    <a:pt x="580" y="19"/>
                    <a:pt x="580" y="19"/>
                  </a:cubicBezTo>
                  <a:cubicBezTo>
                    <a:pt x="580" y="14"/>
                    <a:pt x="580" y="14"/>
                    <a:pt x="577" y="14"/>
                  </a:cubicBezTo>
                  <a:cubicBezTo>
                    <a:pt x="576" y="14"/>
                    <a:pt x="576" y="14"/>
                    <a:pt x="576" y="13"/>
                  </a:cubicBezTo>
                  <a:cubicBezTo>
                    <a:pt x="576" y="12"/>
                    <a:pt x="576" y="12"/>
                    <a:pt x="576" y="12"/>
                  </a:cubicBezTo>
                  <a:cubicBezTo>
                    <a:pt x="578" y="12"/>
                    <a:pt x="580" y="12"/>
                    <a:pt x="582" y="12"/>
                  </a:cubicBezTo>
                  <a:cubicBezTo>
                    <a:pt x="584" y="12"/>
                    <a:pt x="586" y="12"/>
                    <a:pt x="587" y="12"/>
                  </a:cubicBezTo>
                  <a:cubicBezTo>
                    <a:pt x="587" y="13"/>
                    <a:pt x="587" y="13"/>
                    <a:pt x="587" y="13"/>
                  </a:cubicBezTo>
                  <a:cubicBezTo>
                    <a:pt x="587" y="14"/>
                    <a:pt x="587" y="14"/>
                    <a:pt x="587" y="14"/>
                  </a:cubicBezTo>
                  <a:cubicBezTo>
                    <a:pt x="584" y="14"/>
                    <a:pt x="584" y="14"/>
                    <a:pt x="584" y="19"/>
                  </a:cubicBezTo>
                  <a:cubicBezTo>
                    <a:pt x="584" y="29"/>
                    <a:pt x="584" y="29"/>
                    <a:pt x="584" y="29"/>
                  </a:cubicBezTo>
                  <a:cubicBezTo>
                    <a:pt x="584" y="33"/>
                    <a:pt x="586" y="35"/>
                    <a:pt x="590" y="35"/>
                  </a:cubicBezTo>
                  <a:cubicBezTo>
                    <a:pt x="595" y="35"/>
                    <a:pt x="597" y="33"/>
                    <a:pt x="597" y="28"/>
                  </a:cubicBezTo>
                  <a:cubicBezTo>
                    <a:pt x="597" y="22"/>
                    <a:pt x="597" y="22"/>
                    <a:pt x="597" y="22"/>
                  </a:cubicBezTo>
                  <a:cubicBezTo>
                    <a:pt x="597" y="15"/>
                    <a:pt x="597" y="14"/>
                    <a:pt x="592" y="14"/>
                  </a:cubicBezTo>
                  <a:cubicBezTo>
                    <a:pt x="592" y="14"/>
                    <a:pt x="592" y="14"/>
                    <a:pt x="592" y="13"/>
                  </a:cubicBezTo>
                  <a:cubicBezTo>
                    <a:pt x="592" y="12"/>
                    <a:pt x="592" y="12"/>
                    <a:pt x="592" y="12"/>
                  </a:cubicBezTo>
                  <a:cubicBezTo>
                    <a:pt x="594" y="12"/>
                    <a:pt x="596" y="12"/>
                    <a:pt x="598" y="12"/>
                  </a:cubicBezTo>
                  <a:cubicBezTo>
                    <a:pt x="600" y="12"/>
                    <a:pt x="601" y="12"/>
                    <a:pt x="602" y="12"/>
                  </a:cubicBezTo>
                  <a:cubicBezTo>
                    <a:pt x="602" y="13"/>
                    <a:pt x="602" y="13"/>
                    <a:pt x="602" y="13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9" y="14"/>
                    <a:pt x="599" y="15"/>
                    <a:pt x="599" y="22"/>
                  </a:cubicBezTo>
                  <a:cubicBezTo>
                    <a:pt x="599" y="28"/>
                    <a:pt x="599" y="28"/>
                    <a:pt x="599" y="28"/>
                  </a:cubicBezTo>
                  <a:cubicBezTo>
                    <a:pt x="599" y="35"/>
                    <a:pt x="596" y="38"/>
                    <a:pt x="590" y="38"/>
                  </a:cubicBezTo>
                  <a:close/>
                  <a:moveTo>
                    <a:pt x="614" y="27"/>
                  </a:moveTo>
                  <a:cubicBezTo>
                    <a:pt x="612" y="27"/>
                    <a:pt x="612" y="27"/>
                    <a:pt x="612" y="27"/>
                  </a:cubicBezTo>
                  <a:cubicBezTo>
                    <a:pt x="612" y="30"/>
                    <a:pt x="612" y="30"/>
                    <a:pt x="612" y="30"/>
                  </a:cubicBezTo>
                  <a:cubicBezTo>
                    <a:pt x="612" y="35"/>
                    <a:pt x="612" y="35"/>
                    <a:pt x="615" y="35"/>
                  </a:cubicBezTo>
                  <a:cubicBezTo>
                    <a:pt x="616" y="35"/>
                    <a:pt x="616" y="36"/>
                    <a:pt x="616" y="36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14" y="37"/>
                    <a:pt x="611" y="37"/>
                    <a:pt x="610" y="37"/>
                  </a:cubicBezTo>
                  <a:cubicBezTo>
                    <a:pt x="608" y="37"/>
                    <a:pt x="606" y="37"/>
                    <a:pt x="604" y="37"/>
                  </a:cubicBezTo>
                  <a:cubicBezTo>
                    <a:pt x="604" y="36"/>
                    <a:pt x="604" y="36"/>
                    <a:pt x="604" y="36"/>
                  </a:cubicBezTo>
                  <a:cubicBezTo>
                    <a:pt x="604" y="36"/>
                    <a:pt x="604" y="35"/>
                    <a:pt x="604" y="35"/>
                  </a:cubicBezTo>
                  <a:cubicBezTo>
                    <a:pt x="607" y="35"/>
                    <a:pt x="607" y="35"/>
                    <a:pt x="607" y="30"/>
                  </a:cubicBezTo>
                  <a:cubicBezTo>
                    <a:pt x="607" y="19"/>
                    <a:pt x="607" y="19"/>
                    <a:pt x="607" y="19"/>
                  </a:cubicBezTo>
                  <a:cubicBezTo>
                    <a:pt x="607" y="14"/>
                    <a:pt x="607" y="14"/>
                    <a:pt x="604" y="14"/>
                  </a:cubicBezTo>
                  <a:cubicBezTo>
                    <a:pt x="604" y="14"/>
                    <a:pt x="604" y="14"/>
                    <a:pt x="604" y="13"/>
                  </a:cubicBezTo>
                  <a:cubicBezTo>
                    <a:pt x="604" y="12"/>
                    <a:pt x="604" y="12"/>
                    <a:pt x="604" y="12"/>
                  </a:cubicBezTo>
                  <a:cubicBezTo>
                    <a:pt x="606" y="12"/>
                    <a:pt x="608" y="12"/>
                    <a:pt x="610" y="12"/>
                  </a:cubicBezTo>
                  <a:cubicBezTo>
                    <a:pt x="611" y="12"/>
                    <a:pt x="613" y="12"/>
                    <a:pt x="614" y="12"/>
                  </a:cubicBezTo>
                  <a:cubicBezTo>
                    <a:pt x="619" y="12"/>
                    <a:pt x="625" y="13"/>
                    <a:pt x="625" y="19"/>
                  </a:cubicBezTo>
                  <a:cubicBezTo>
                    <a:pt x="625" y="22"/>
                    <a:pt x="623" y="27"/>
                    <a:pt x="614" y="27"/>
                  </a:cubicBezTo>
                  <a:close/>
                  <a:moveTo>
                    <a:pt x="615" y="14"/>
                  </a:moveTo>
                  <a:cubicBezTo>
                    <a:pt x="614" y="14"/>
                    <a:pt x="612" y="14"/>
                    <a:pt x="612" y="14"/>
                  </a:cubicBezTo>
                  <a:cubicBezTo>
                    <a:pt x="612" y="25"/>
                    <a:pt x="612" y="25"/>
                    <a:pt x="612" y="25"/>
                  </a:cubicBezTo>
                  <a:cubicBezTo>
                    <a:pt x="614" y="25"/>
                    <a:pt x="614" y="25"/>
                    <a:pt x="614" y="25"/>
                  </a:cubicBezTo>
                  <a:cubicBezTo>
                    <a:pt x="618" y="25"/>
                    <a:pt x="620" y="23"/>
                    <a:pt x="620" y="19"/>
                  </a:cubicBezTo>
                  <a:cubicBezTo>
                    <a:pt x="620" y="16"/>
                    <a:pt x="618" y="14"/>
                    <a:pt x="61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427114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1855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PS Conten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999"/>
            </a:lvl1pPr>
          </a:lstStyle>
          <a:p>
            <a:r>
              <a:rPr lang="en-US"/>
              <a:t>Slide Title: </a:t>
            </a:r>
            <a:r>
              <a:rPr lang="en-US" sz="3199" i="1"/>
              <a:t>Keep Size Consistent Each Slid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507949"/>
            <a:ext cx="10515600" cy="4721387"/>
          </a:xfrm>
        </p:spPr>
        <p:txBody>
          <a:bodyPr/>
          <a:lstStyle>
            <a:lvl3pPr marL="1142657" indent="-228531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079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8175670" y="244371"/>
            <a:ext cx="3178130" cy="96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80135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5211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308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4690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-1"/>
            <a:ext cx="12191996" cy="685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1391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29130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02757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88772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5264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97336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sert citations here as necess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8974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4"/>
          </p:nvPr>
        </p:nvSpPr>
        <p:spPr>
          <a:xfrm>
            <a:off x="4" y="0"/>
            <a:ext cx="12191999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510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320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275983" y="397116"/>
            <a:ext cx="2318031" cy="552121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0" y="3118119"/>
            <a:ext cx="12192000" cy="17085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8973" y="3377397"/>
            <a:ext cx="7567747" cy="1294447"/>
          </a:xfrm>
        </p:spPr>
        <p:txBody>
          <a:bodyPr lIns="91440" tIns="45720" rIns="91440" bIns="45720" anchor="ctr" anchorCtr="0"/>
          <a:lstStyle>
            <a:lvl1pPr>
              <a:defRPr sz="2251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Title in Title Case (Calibri Bold 30pt)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0" y="4826621"/>
            <a:ext cx="12192000" cy="189833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55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627737" y="172452"/>
            <a:ext cx="2318031" cy="55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558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3"/>
            <a:ext cx="3452400" cy="14957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46170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0" y="3170369"/>
            <a:ext cx="12192000" cy="17085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8972" y="3377396"/>
            <a:ext cx="7567747" cy="1294446"/>
          </a:xfrm>
        </p:spPr>
        <p:txBody>
          <a:bodyPr lIns="91440" tIns="45720" rIns="91440" bIns="45720" anchor="ctr" anchorCtr="0"/>
          <a:lstStyle>
            <a:lvl1pPr>
              <a:defRPr sz="30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Title in Title Case (Calibri Bold 30pt)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0" y="4878869"/>
            <a:ext cx="12192000" cy="189833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78974" y="5740905"/>
            <a:ext cx="3378923" cy="372398"/>
          </a:xfrm>
        </p:spPr>
        <p:txBody>
          <a:bodyPr lIns="45720" tIns="45720" rIns="45720" bIns="45720" anchor="ctr" anchorCtr="0"/>
          <a:lstStyle>
            <a:lvl1pPr>
              <a:defRPr sz="2000" b="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 (Calibri 20pt)</a:t>
            </a:r>
          </a:p>
        </p:txBody>
      </p:sp>
      <p:pic>
        <p:nvPicPr>
          <p:cNvPr id="8" name="Picture 7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866137" y="375816"/>
            <a:ext cx="1631149" cy="38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4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06556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590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15382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9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2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51183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1088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5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4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1" baseline="0"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03807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6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1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7727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2764206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81214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2764206"/>
            <a:ext cx="247863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49327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3" y="33956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37284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cceleratingHealth2_JuneBOD_v2018.05.24_v5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400" y="334625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7" descr="colorStJo&amp;Prov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629400" y="6283811"/>
            <a:ext cx="871069" cy="20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414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1"/>
            <a:ext cx="2694667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2028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9605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4673647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92327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4673647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6"/>
            <a:ext cx="2694667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87497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5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162376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6800" cy="35317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1" b="0" i="0" u="none" kern="1200" spc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6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46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6620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accent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60023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4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  <a:noAutofit/>
          </a:bodyPr>
          <a:lstStyle/>
          <a:p>
            <a:pPr defTabSz="914377"/>
            <a:endParaRPr lang="en-US" sz="1351">
              <a:solidFill>
                <a:srgbClr val="000000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66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353175"/>
          </a:xfrm>
        </p:spPr>
        <p:txBody>
          <a:bodyPr/>
          <a:lstStyle>
            <a:lvl1pPr>
              <a:defRPr sz="2551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09842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72226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cceleratingHealth2_JuneBOD_v2018.05.24_v5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400" y="334625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8" name="Picture 7" descr="colorStJo&amp;Prov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866137" y="375816"/>
            <a:ext cx="1631149" cy="38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672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22311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45231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gradFill rotWithShape="1">
          <a:gsLst>
            <a:gs pos="83000">
              <a:srgbClr val="429644"/>
            </a:gs>
            <a:gs pos="45000">
              <a:schemeClr val="bg1">
                <a:tint val="80000"/>
                <a:satMod val="300000"/>
              </a:schemeClr>
            </a:gs>
            <a:gs pos="100000">
              <a:srgbClr val="00539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mage result for provide st. joseph health logo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175" y="2526796"/>
            <a:ext cx="8000037" cy="18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3715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1351">
                <a:solidFill>
                  <a:srgbClr val="575757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lnSpc>
                  <a:spcPct val="90000"/>
                </a:lnSpc>
                <a:spcAft>
                  <a:spcPts val="751"/>
                </a:spcAft>
              </a:pPr>
              <a:endParaRPr lang="en-US" sz="9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7932"/>
              <a:ext cx="9030915" cy="31200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1. </a:t>
              </a:r>
              <a:r>
                <a:rPr lang="en-US" sz="751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2. </a:t>
              </a:r>
              <a:r>
                <a:rPr lang="en-US" sz="751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3. List footnotes in numerical order. Footnote numbers are not bracketed. Use 10pt font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89735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1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275983" y="397116"/>
            <a:ext cx="2318031" cy="55212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3170370"/>
            <a:ext cx="12192000" cy="17085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8973" y="3377397"/>
            <a:ext cx="7567747" cy="1294447"/>
          </a:xfrm>
        </p:spPr>
        <p:txBody>
          <a:bodyPr lIns="91440" tIns="45720" rIns="91440" bIns="45720" anchor="ctr" anchorCtr="0"/>
          <a:lstStyle>
            <a:lvl1pPr>
              <a:defRPr sz="2251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Title in Title Case (Calibri Bold 30pt)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4878872"/>
            <a:ext cx="12192000" cy="189833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351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78975" y="5740906"/>
            <a:ext cx="3378923" cy="372399"/>
          </a:xfrm>
        </p:spPr>
        <p:txBody>
          <a:bodyPr lIns="45720" tIns="45720" rIns="45720" bIns="45720" anchor="ctr" anchorCtr="0"/>
          <a:lstStyle>
            <a:lvl1pPr>
              <a:defRPr sz="1500" b="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 (Calibri 20pt)</a:t>
            </a:r>
          </a:p>
        </p:txBody>
      </p:sp>
    </p:spTree>
    <p:extLst>
      <p:ext uri="{BB962C8B-B14F-4D97-AF65-F5344CB8AC3E}">
        <p14:creationId xmlns:p14="http://schemas.microsoft.com/office/powerpoint/2010/main" val="383248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10933351" cy="2492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04549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90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50"/>
            <a:ext cx="3744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93709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6" y="1424084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68826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4051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527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7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2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442771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gradFill rotWithShape="1">
          <a:gsLst>
            <a:gs pos="83000">
              <a:srgbClr val="429644"/>
            </a:gs>
            <a:gs pos="45000">
              <a:schemeClr val="bg1">
                <a:tint val="80000"/>
                <a:satMod val="300000"/>
              </a:schemeClr>
            </a:gs>
            <a:gs pos="100000">
              <a:srgbClr val="00539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mage result for provide st. joseph health logo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174" y="2526794"/>
            <a:ext cx="8000037" cy="18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2085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9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2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6276529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25900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8101584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02009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27679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5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4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1" baseline="0"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5819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1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6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7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70819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8017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2764206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44465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2" y="2764206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30"/>
            <a:ext cx="2694667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22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6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3" y="3382964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61834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1"/>
            <a:ext cx="2694667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38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7" y="3588017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78237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cceleratingHealth2_JuneBOD_v2018.05.24_v5.pptx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3452554" cy="6858000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colorStJo&amp;Prov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866137" y="375816"/>
            <a:ext cx="1631149" cy="38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8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2" y="622801"/>
            <a:ext cx="4747823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1" y="3407806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70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2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7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85354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6254496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69" y="3407806"/>
            <a:ext cx="2694667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80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83195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783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1" kern="1200" baseline="0" dirty="0">
                <a:solidFill>
                  <a:schemeClr val="accent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97091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4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  <a:noAutofit/>
          </a:bodyPr>
          <a:lstStyle/>
          <a:p>
            <a:pPr defTabSz="914377"/>
            <a:endParaRPr lang="en-US" sz="1351">
              <a:solidFill>
                <a:srgbClr val="000000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0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1"/>
            <a:ext cx="109332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18823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798059"/>
            <a:ext cx="2819400" cy="13215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377">
              <a:lnSpc>
                <a:spcPct val="106000"/>
              </a:lnSpc>
              <a:spcAft>
                <a:spcPts val="525"/>
              </a:spcAft>
            </a:pPr>
            <a:r>
              <a:rPr lang="en-US" sz="4051">
                <a:solidFill>
                  <a:srgbClr val="00539B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2599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18431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95251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Option 2: Title slide style, 28pt reg Arial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6622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cceleratingHealth2_JuneBOD_v2018.05.24_v5.pptx</a:t>
            </a:r>
          </a:p>
        </p:txBody>
      </p:sp>
    </p:spTree>
    <p:extLst>
      <p:ext uri="{BB962C8B-B14F-4D97-AF65-F5344CB8AC3E}">
        <p14:creationId xmlns:p14="http://schemas.microsoft.com/office/powerpoint/2010/main" val="245793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5896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End">
    <p:bg>
      <p:bgPr>
        <a:gradFill rotWithShape="1">
          <a:gsLst>
            <a:gs pos="83000">
              <a:srgbClr val="429644"/>
            </a:gs>
            <a:gs pos="45000">
              <a:schemeClr val="bg1">
                <a:tint val="80000"/>
                <a:satMod val="300000"/>
              </a:schemeClr>
            </a:gs>
            <a:gs pos="100000">
              <a:srgbClr val="00539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6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mage result for provide st. joseph health logo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175" y="2526796"/>
            <a:ext cx="8000037" cy="18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066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1351">
                <a:solidFill>
                  <a:srgbClr val="575757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sz="1351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377">
                <a:lnSpc>
                  <a:spcPct val="90000"/>
                </a:lnSpc>
                <a:spcAft>
                  <a:spcPts val="751"/>
                </a:spcAft>
              </a:pPr>
              <a:endParaRPr lang="en-US" sz="9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7932"/>
              <a:ext cx="9030915" cy="31200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1. </a:t>
              </a:r>
              <a:r>
                <a:rPr lang="en-US" sz="751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2. </a:t>
              </a:r>
              <a:r>
                <a:rPr lang="en-US" sz="751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3. List footnotes in numerical order. Footnote numbers are not bracketed. Use 10pt font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en-US" sz="75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26397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8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5000"/>
              </a:lnSpc>
            </a:pPr>
            <a:endParaRPr lang="en-US" sz="15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lnSpc>
                <a:spcPct val="95000"/>
              </a:lnSpc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9154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endParaRPr lang="en-US" sz="40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464756" y="1115416"/>
            <a:ext cx="1778564" cy="684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lnSpc>
                <a:spcPct val="95000"/>
              </a:lnSpc>
            </a:pPr>
            <a:r>
              <a:rPr lang="en-US" sz="40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99366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/>
            <a:endParaRPr lang="en-US" sz="15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90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42744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2" y="622800"/>
            <a:ext cx="7189999" cy="3533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60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3" y="3207718"/>
            <a:ext cx="1547143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24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3531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8" y="4691187"/>
            <a:ext cx="92933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5000"/>
              </a:lnSpc>
            </a:pPr>
            <a:endParaRPr lang="en-US" sz="15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lnSpc>
                <a:spcPct val="95000"/>
              </a:lnSpc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91547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endParaRPr lang="en-US" sz="4051">
              <a:solidFill>
                <a:srgbClr val="0067C4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464756" y="1115416"/>
            <a:ext cx="1778564" cy="684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914377"/>
            <a:r>
              <a:rPr lang="en-US" sz="4051">
                <a:solidFill>
                  <a:srgbClr val="0067C4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5824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/>
            <a:endParaRPr lang="en-US" sz="15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80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2" y="622800"/>
            <a:ext cx="7189999" cy="3533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1">
                <a:solidFill>
                  <a:srgbClr val="0067C4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468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629400" y="6283811"/>
            <a:ext cx="871069" cy="20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063044"/>
      </p:ext>
    </p:extLst>
  </p:cSld>
  <p:clrMapOvr>
    <a:masterClrMapping/>
  </p:clrMapOvr>
  <p:transition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1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/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3" y="3262146"/>
            <a:ext cx="1161047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451"/>
              </a:spcAft>
            </a:pPr>
            <a:r>
              <a:rPr lang="en-US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0338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94368"/>
            <a:ext cx="1365251" cy="338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798059"/>
            <a:ext cx="2819400" cy="132151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377">
              <a:lnSpc>
                <a:spcPct val="106000"/>
              </a:lnSpc>
              <a:spcAft>
                <a:spcPts val="525"/>
              </a:spcAft>
            </a:pPr>
            <a:r>
              <a:rPr lang="en-US" sz="4051">
                <a:solidFill>
                  <a:srgbClr val="00539B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008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79185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14377">
              <a:lnSpc>
                <a:spcPct val="90000"/>
              </a:lnSpc>
              <a:spcAft>
                <a:spcPts val="751"/>
              </a:spcAft>
            </a:pPr>
            <a:endParaRPr lang="en-US" sz="9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9066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/>
          <a:srcRect l="1368" t="8949" r="1368" b="27879"/>
          <a:stretch/>
        </p:blipFill>
        <p:spPr>
          <a:xfrm>
            <a:off x="0" y="0"/>
            <a:ext cx="12192000" cy="5276851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3" y="5570645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5000"/>
              </a:lnSpc>
            </a:pPr>
            <a:endParaRPr lang="en-US" sz="15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3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46" indent="0" algn="ctr">
              <a:buNone/>
              <a:defRPr/>
            </a:lvl4pPr>
            <a:lvl5pPr marL="342891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957602" y="946938"/>
            <a:ext cx="2887436" cy="894745"/>
            <a:chOff x="848180" y="896938"/>
            <a:chExt cx="2178050" cy="674924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848180" y="896938"/>
              <a:ext cx="997552" cy="414102"/>
            </a:xfrm>
            <a:custGeom>
              <a:avLst/>
              <a:gdLst>
                <a:gd name="T0" fmla="*/ 39 w 340"/>
                <a:gd name="T1" fmla="*/ 10 h 140"/>
                <a:gd name="T2" fmla="*/ 54 w 340"/>
                <a:gd name="T3" fmla="*/ 8 h 140"/>
                <a:gd name="T4" fmla="*/ 47 w 340"/>
                <a:gd name="T5" fmla="*/ 64 h 140"/>
                <a:gd name="T6" fmla="*/ 60 w 340"/>
                <a:gd name="T7" fmla="*/ 132 h 140"/>
                <a:gd name="T8" fmla="*/ 39 w 340"/>
                <a:gd name="T9" fmla="*/ 69 h 140"/>
                <a:gd name="T10" fmla="*/ 92 w 340"/>
                <a:gd name="T11" fmla="*/ 100 h 140"/>
                <a:gd name="T12" fmla="*/ 285 w 340"/>
                <a:gd name="T13" fmla="*/ 78 h 140"/>
                <a:gd name="T14" fmla="*/ 286 w 340"/>
                <a:gd name="T15" fmla="*/ 82 h 140"/>
                <a:gd name="T16" fmla="*/ 306 w 340"/>
                <a:gd name="T17" fmla="*/ 113 h 140"/>
                <a:gd name="T18" fmla="*/ 238 w 340"/>
                <a:gd name="T19" fmla="*/ 71 h 140"/>
                <a:gd name="T20" fmla="*/ 315 w 340"/>
                <a:gd name="T21" fmla="*/ 40 h 140"/>
                <a:gd name="T22" fmla="*/ 318 w 340"/>
                <a:gd name="T23" fmla="*/ 41 h 140"/>
                <a:gd name="T24" fmla="*/ 317 w 340"/>
                <a:gd name="T25" fmla="*/ 1 h 140"/>
                <a:gd name="T26" fmla="*/ 313 w 340"/>
                <a:gd name="T27" fmla="*/ 12 h 140"/>
                <a:gd name="T28" fmla="*/ 278 w 340"/>
                <a:gd name="T29" fmla="*/ 0 h 140"/>
                <a:gd name="T30" fmla="*/ 216 w 340"/>
                <a:gd name="T31" fmla="*/ 90 h 140"/>
                <a:gd name="T32" fmla="*/ 177 w 340"/>
                <a:gd name="T33" fmla="*/ 135 h 140"/>
                <a:gd name="T34" fmla="*/ 174 w 340"/>
                <a:gd name="T35" fmla="*/ 5 h 140"/>
                <a:gd name="T36" fmla="*/ 210 w 340"/>
                <a:gd name="T37" fmla="*/ 34 h 140"/>
                <a:gd name="T38" fmla="*/ 211 w 340"/>
                <a:gd name="T39" fmla="*/ 1 h 140"/>
                <a:gd name="T40" fmla="*/ 208 w 340"/>
                <a:gd name="T41" fmla="*/ 2 h 140"/>
                <a:gd name="T42" fmla="*/ 206 w 340"/>
                <a:gd name="T43" fmla="*/ 12 h 140"/>
                <a:gd name="T44" fmla="*/ 110 w 340"/>
                <a:gd name="T45" fmla="*/ 71 h 140"/>
                <a:gd name="T46" fmla="*/ 110 w 340"/>
                <a:gd name="T47" fmla="*/ 82 h 140"/>
                <a:gd name="T48" fmla="*/ 69 w 340"/>
                <a:gd name="T49" fmla="*/ 65 h 140"/>
                <a:gd name="T50" fmla="*/ 53 w 340"/>
                <a:gd name="T51" fmla="*/ 2 h 140"/>
                <a:gd name="T52" fmla="*/ 0 w 340"/>
                <a:gd name="T53" fmla="*/ 2 h 140"/>
                <a:gd name="T54" fmla="*/ 1 w 340"/>
                <a:gd name="T55" fmla="*/ 6 h 140"/>
                <a:gd name="T56" fmla="*/ 18 w 340"/>
                <a:gd name="T57" fmla="*/ 106 h 140"/>
                <a:gd name="T58" fmla="*/ 0 w 340"/>
                <a:gd name="T59" fmla="*/ 135 h 140"/>
                <a:gd name="T60" fmla="*/ 28 w 340"/>
                <a:gd name="T61" fmla="*/ 137 h 140"/>
                <a:gd name="T62" fmla="*/ 115 w 340"/>
                <a:gd name="T63" fmla="*/ 101 h 140"/>
                <a:gd name="T64" fmla="*/ 177 w 340"/>
                <a:gd name="T65" fmla="*/ 140 h 140"/>
                <a:gd name="T66" fmla="*/ 214 w 340"/>
                <a:gd name="T67" fmla="*/ 127 h 140"/>
                <a:gd name="T68" fmla="*/ 218 w 340"/>
                <a:gd name="T69" fmla="*/ 138 h 140"/>
                <a:gd name="T70" fmla="*/ 219 w 340"/>
                <a:gd name="T71" fmla="*/ 101 h 140"/>
                <a:gd name="T72" fmla="*/ 279 w 340"/>
                <a:gd name="T73" fmla="*/ 140 h 140"/>
                <a:gd name="T74" fmla="*/ 328 w 340"/>
                <a:gd name="T75" fmla="*/ 121 h 140"/>
                <a:gd name="T76" fmla="*/ 327 w 340"/>
                <a:gd name="T77" fmla="*/ 101 h 140"/>
                <a:gd name="T78" fmla="*/ 340 w 340"/>
                <a:gd name="T79" fmla="*/ 80 h 140"/>
                <a:gd name="T80" fmla="*/ 315 w 340"/>
                <a:gd name="T81" fmla="*/ 7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0" h="140">
                  <a:moveTo>
                    <a:pt x="39" y="64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9"/>
                    <a:pt x="39" y="8"/>
                    <a:pt x="41" y="8"/>
                  </a:cubicBezTo>
                  <a:cubicBezTo>
                    <a:pt x="44" y="8"/>
                    <a:pt x="51" y="8"/>
                    <a:pt x="54" y="8"/>
                  </a:cubicBezTo>
                  <a:cubicBezTo>
                    <a:pt x="70" y="8"/>
                    <a:pt x="81" y="17"/>
                    <a:pt x="81" y="36"/>
                  </a:cubicBezTo>
                  <a:cubicBezTo>
                    <a:pt x="81" y="57"/>
                    <a:pt x="68" y="64"/>
                    <a:pt x="47" y="64"/>
                  </a:cubicBezTo>
                  <a:lnTo>
                    <a:pt x="39" y="64"/>
                  </a:lnTo>
                  <a:close/>
                  <a:moveTo>
                    <a:pt x="60" y="132"/>
                  </a:moveTo>
                  <a:cubicBezTo>
                    <a:pt x="42" y="132"/>
                    <a:pt x="39" y="129"/>
                    <a:pt x="39" y="10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71" y="69"/>
                    <a:pt x="92" y="74"/>
                    <a:pt x="92" y="100"/>
                  </a:cubicBezTo>
                  <a:cubicBezTo>
                    <a:pt x="92" y="120"/>
                    <a:pt x="80" y="132"/>
                    <a:pt x="60" y="132"/>
                  </a:cubicBezTo>
                  <a:close/>
                  <a:moveTo>
                    <a:pt x="285" y="78"/>
                  </a:moveTo>
                  <a:cubicBezTo>
                    <a:pt x="285" y="80"/>
                    <a:pt x="285" y="80"/>
                    <a:pt x="285" y="80"/>
                  </a:cubicBezTo>
                  <a:cubicBezTo>
                    <a:pt x="285" y="81"/>
                    <a:pt x="285" y="82"/>
                    <a:pt x="286" y="82"/>
                  </a:cubicBezTo>
                  <a:cubicBezTo>
                    <a:pt x="306" y="82"/>
                    <a:pt x="306" y="84"/>
                    <a:pt x="306" y="10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26"/>
                    <a:pt x="298" y="135"/>
                    <a:pt x="280" y="135"/>
                  </a:cubicBezTo>
                  <a:cubicBezTo>
                    <a:pt x="251" y="135"/>
                    <a:pt x="238" y="106"/>
                    <a:pt x="238" y="71"/>
                  </a:cubicBezTo>
                  <a:cubicBezTo>
                    <a:pt x="238" y="37"/>
                    <a:pt x="247" y="5"/>
                    <a:pt x="280" y="5"/>
                  </a:cubicBezTo>
                  <a:cubicBezTo>
                    <a:pt x="298" y="5"/>
                    <a:pt x="313" y="17"/>
                    <a:pt x="315" y="40"/>
                  </a:cubicBezTo>
                  <a:cubicBezTo>
                    <a:pt x="315" y="41"/>
                    <a:pt x="315" y="41"/>
                    <a:pt x="316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32"/>
                    <a:pt x="318" y="10"/>
                    <a:pt x="318" y="1"/>
                  </a:cubicBezTo>
                  <a:cubicBezTo>
                    <a:pt x="317" y="1"/>
                    <a:pt x="317" y="1"/>
                    <a:pt x="317" y="1"/>
                  </a:cubicBezTo>
                  <a:cubicBezTo>
                    <a:pt x="315" y="1"/>
                    <a:pt x="315" y="1"/>
                    <a:pt x="315" y="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03" y="3"/>
                    <a:pt x="290" y="0"/>
                    <a:pt x="278" y="0"/>
                  </a:cubicBezTo>
                  <a:cubicBezTo>
                    <a:pt x="239" y="0"/>
                    <a:pt x="214" y="32"/>
                    <a:pt x="214" y="71"/>
                  </a:cubicBezTo>
                  <a:cubicBezTo>
                    <a:pt x="214" y="78"/>
                    <a:pt x="215" y="84"/>
                    <a:pt x="216" y="90"/>
                  </a:cubicBezTo>
                  <a:cubicBezTo>
                    <a:pt x="216" y="95"/>
                    <a:pt x="216" y="95"/>
                    <a:pt x="216" y="95"/>
                  </a:cubicBezTo>
                  <a:cubicBezTo>
                    <a:pt x="213" y="125"/>
                    <a:pt x="196" y="135"/>
                    <a:pt x="177" y="135"/>
                  </a:cubicBezTo>
                  <a:cubicBezTo>
                    <a:pt x="148" y="135"/>
                    <a:pt x="134" y="108"/>
                    <a:pt x="134" y="71"/>
                  </a:cubicBezTo>
                  <a:cubicBezTo>
                    <a:pt x="134" y="37"/>
                    <a:pt x="142" y="5"/>
                    <a:pt x="174" y="5"/>
                  </a:cubicBezTo>
                  <a:cubicBezTo>
                    <a:pt x="191" y="5"/>
                    <a:pt x="205" y="15"/>
                    <a:pt x="208" y="33"/>
                  </a:cubicBezTo>
                  <a:cubicBezTo>
                    <a:pt x="208" y="34"/>
                    <a:pt x="209" y="34"/>
                    <a:pt x="210" y="34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25"/>
                    <a:pt x="211" y="10"/>
                    <a:pt x="211" y="1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9" y="1"/>
                    <a:pt x="208" y="1"/>
                    <a:pt x="208" y="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197" y="3"/>
                    <a:pt x="184" y="0"/>
                    <a:pt x="172" y="0"/>
                  </a:cubicBezTo>
                  <a:cubicBezTo>
                    <a:pt x="135" y="0"/>
                    <a:pt x="110" y="32"/>
                    <a:pt x="110" y="71"/>
                  </a:cubicBezTo>
                  <a:cubicBezTo>
                    <a:pt x="110" y="75"/>
                    <a:pt x="110" y="78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02" y="71"/>
                    <a:pt x="87" y="66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89" y="61"/>
                    <a:pt x="102" y="51"/>
                    <a:pt x="102" y="34"/>
                  </a:cubicBezTo>
                  <a:cubicBezTo>
                    <a:pt x="102" y="9"/>
                    <a:pt x="75" y="2"/>
                    <a:pt x="53" y="2"/>
                  </a:cubicBezTo>
                  <a:cubicBezTo>
                    <a:pt x="47" y="2"/>
                    <a:pt x="34" y="3"/>
                    <a:pt x="29" y="3"/>
                  </a:cubicBezTo>
                  <a:cubicBezTo>
                    <a:pt x="20" y="3"/>
                    <a:pt x="9" y="3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8" y="7"/>
                    <a:pt x="18" y="9"/>
                    <a:pt x="18" y="34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30"/>
                    <a:pt x="18" y="133"/>
                    <a:pt x="2" y="133"/>
                  </a:cubicBezTo>
                  <a:cubicBezTo>
                    <a:pt x="0" y="133"/>
                    <a:pt x="0" y="134"/>
                    <a:pt x="0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9" y="137"/>
                    <a:pt x="18" y="137"/>
                    <a:pt x="28" y="137"/>
                  </a:cubicBezTo>
                  <a:cubicBezTo>
                    <a:pt x="40" y="137"/>
                    <a:pt x="45" y="137"/>
                    <a:pt x="60" y="137"/>
                  </a:cubicBezTo>
                  <a:cubicBezTo>
                    <a:pt x="93" y="137"/>
                    <a:pt x="114" y="121"/>
                    <a:pt x="115" y="101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6" y="125"/>
                    <a:pt x="148" y="140"/>
                    <a:pt x="177" y="140"/>
                  </a:cubicBezTo>
                  <a:cubicBezTo>
                    <a:pt x="190" y="140"/>
                    <a:pt x="203" y="136"/>
                    <a:pt x="21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5" y="137"/>
                    <a:pt x="215" y="137"/>
                    <a:pt x="215" y="137"/>
                  </a:cubicBezTo>
                  <a:cubicBezTo>
                    <a:pt x="216" y="138"/>
                    <a:pt x="216" y="138"/>
                    <a:pt x="218" y="138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9" y="132"/>
                    <a:pt x="219" y="114"/>
                    <a:pt x="219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9" y="125"/>
                    <a:pt x="252" y="140"/>
                    <a:pt x="279" y="140"/>
                  </a:cubicBezTo>
                  <a:cubicBezTo>
                    <a:pt x="305" y="140"/>
                    <a:pt x="315" y="123"/>
                    <a:pt x="326" y="123"/>
                  </a:cubicBezTo>
                  <a:cubicBezTo>
                    <a:pt x="327" y="123"/>
                    <a:pt x="328" y="123"/>
                    <a:pt x="328" y="121"/>
                  </a:cubicBezTo>
                  <a:cubicBezTo>
                    <a:pt x="328" y="119"/>
                    <a:pt x="327" y="114"/>
                    <a:pt x="327" y="110"/>
                  </a:cubicBezTo>
                  <a:cubicBezTo>
                    <a:pt x="327" y="101"/>
                    <a:pt x="327" y="101"/>
                    <a:pt x="327" y="101"/>
                  </a:cubicBezTo>
                  <a:cubicBezTo>
                    <a:pt x="327" y="84"/>
                    <a:pt x="327" y="82"/>
                    <a:pt x="339" y="82"/>
                  </a:cubicBezTo>
                  <a:cubicBezTo>
                    <a:pt x="340" y="82"/>
                    <a:pt x="340" y="81"/>
                    <a:pt x="340" y="80"/>
                  </a:cubicBezTo>
                  <a:cubicBezTo>
                    <a:pt x="340" y="78"/>
                    <a:pt x="340" y="78"/>
                    <a:pt x="340" y="78"/>
                  </a:cubicBezTo>
                  <a:cubicBezTo>
                    <a:pt x="331" y="78"/>
                    <a:pt x="325" y="78"/>
                    <a:pt x="315" y="78"/>
                  </a:cubicBezTo>
                  <a:cubicBezTo>
                    <a:pt x="306" y="78"/>
                    <a:pt x="294" y="78"/>
                    <a:pt x="28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1194295" y="1459375"/>
              <a:ext cx="1831935" cy="112487"/>
            </a:xfrm>
            <a:custGeom>
              <a:avLst/>
              <a:gdLst>
                <a:gd name="T0" fmla="*/ 32 w 625"/>
                <a:gd name="T1" fmla="*/ 10 h 38"/>
                <a:gd name="T2" fmla="*/ 14 w 625"/>
                <a:gd name="T3" fmla="*/ 4 h 38"/>
                <a:gd name="T4" fmla="*/ 112 w 625"/>
                <a:gd name="T5" fmla="*/ 9 h 38"/>
                <a:gd name="T6" fmla="*/ 87 w 625"/>
                <a:gd name="T7" fmla="*/ 37 h 38"/>
                <a:gd name="T8" fmla="*/ 107 w 625"/>
                <a:gd name="T9" fmla="*/ 10 h 38"/>
                <a:gd name="T10" fmla="*/ 274 w 625"/>
                <a:gd name="T11" fmla="*/ 26 h 38"/>
                <a:gd name="T12" fmla="*/ 271 w 625"/>
                <a:gd name="T13" fmla="*/ 2 h 38"/>
                <a:gd name="T14" fmla="*/ 48 w 625"/>
                <a:gd name="T15" fmla="*/ 37 h 38"/>
                <a:gd name="T16" fmla="*/ 38 w 625"/>
                <a:gd name="T17" fmla="*/ 37 h 38"/>
                <a:gd name="T18" fmla="*/ 33 w 625"/>
                <a:gd name="T19" fmla="*/ 12 h 38"/>
                <a:gd name="T20" fmla="*/ 43 w 625"/>
                <a:gd name="T21" fmla="*/ 12 h 38"/>
                <a:gd name="T22" fmla="*/ 48 w 625"/>
                <a:gd name="T23" fmla="*/ 37 h 38"/>
                <a:gd name="T24" fmla="*/ 56 w 625"/>
                <a:gd name="T25" fmla="*/ 12 h 38"/>
                <a:gd name="T26" fmla="*/ 64 w 625"/>
                <a:gd name="T27" fmla="*/ 23 h 38"/>
                <a:gd name="T28" fmla="*/ 64 w 625"/>
                <a:gd name="T29" fmla="*/ 25 h 38"/>
                <a:gd name="T30" fmla="*/ 118 w 625"/>
                <a:gd name="T31" fmla="*/ 25 h 38"/>
                <a:gd name="T32" fmla="*/ 145 w 625"/>
                <a:gd name="T33" fmla="*/ 37 h 38"/>
                <a:gd name="T34" fmla="*/ 157 w 625"/>
                <a:gd name="T35" fmla="*/ 13 h 38"/>
                <a:gd name="T36" fmla="*/ 152 w 625"/>
                <a:gd name="T37" fmla="*/ 38 h 38"/>
                <a:gd name="T38" fmla="*/ 163 w 625"/>
                <a:gd name="T39" fmla="*/ 19 h 38"/>
                <a:gd name="T40" fmla="*/ 177 w 625"/>
                <a:gd name="T41" fmla="*/ 14 h 38"/>
                <a:gd name="T42" fmla="*/ 196 w 625"/>
                <a:gd name="T43" fmla="*/ 11 h 38"/>
                <a:gd name="T44" fmla="*/ 215 w 625"/>
                <a:gd name="T45" fmla="*/ 17 h 38"/>
                <a:gd name="T46" fmla="*/ 213 w 625"/>
                <a:gd name="T47" fmla="*/ 27 h 38"/>
                <a:gd name="T48" fmla="*/ 226 w 625"/>
                <a:gd name="T49" fmla="*/ 14 h 38"/>
                <a:gd name="T50" fmla="*/ 290 w 625"/>
                <a:gd name="T51" fmla="*/ 38 h 38"/>
                <a:gd name="T52" fmla="*/ 324 w 625"/>
                <a:gd name="T53" fmla="*/ 38 h 38"/>
                <a:gd name="T54" fmla="*/ 303 w 625"/>
                <a:gd name="T55" fmla="*/ 36 h 38"/>
                <a:gd name="T56" fmla="*/ 324 w 625"/>
                <a:gd name="T57" fmla="*/ 30 h 38"/>
                <a:gd name="T58" fmla="*/ 327 w 625"/>
                <a:gd name="T59" fmla="*/ 38 h 38"/>
                <a:gd name="T60" fmla="*/ 345 w 625"/>
                <a:gd name="T61" fmla="*/ 32 h 38"/>
                <a:gd name="T62" fmla="*/ 340 w 625"/>
                <a:gd name="T63" fmla="*/ 14 h 38"/>
                <a:gd name="T64" fmla="*/ 350 w 625"/>
                <a:gd name="T65" fmla="*/ 12 h 38"/>
                <a:gd name="T66" fmla="*/ 366 w 625"/>
                <a:gd name="T67" fmla="*/ 14 h 38"/>
                <a:gd name="T68" fmla="*/ 392 w 625"/>
                <a:gd name="T69" fmla="*/ 37 h 38"/>
                <a:gd name="T70" fmla="*/ 383 w 625"/>
                <a:gd name="T71" fmla="*/ 12 h 38"/>
                <a:gd name="T72" fmla="*/ 397 w 625"/>
                <a:gd name="T73" fmla="*/ 29 h 38"/>
                <a:gd name="T74" fmla="*/ 402 w 625"/>
                <a:gd name="T75" fmla="*/ 14 h 38"/>
                <a:gd name="T76" fmla="*/ 416 w 625"/>
                <a:gd name="T77" fmla="*/ 19 h 38"/>
                <a:gd name="T78" fmla="*/ 419 w 625"/>
                <a:gd name="T79" fmla="*/ 37 h 38"/>
                <a:gd name="T80" fmla="*/ 430 w 625"/>
                <a:gd name="T81" fmla="*/ 13 h 38"/>
                <a:gd name="T82" fmla="*/ 438 w 625"/>
                <a:gd name="T83" fmla="*/ 17 h 38"/>
                <a:gd name="T84" fmla="*/ 436 w 625"/>
                <a:gd name="T85" fmla="*/ 27 h 38"/>
                <a:gd name="T86" fmla="*/ 449 w 625"/>
                <a:gd name="T87" fmla="*/ 13 h 38"/>
                <a:gd name="T88" fmla="*/ 484 w 625"/>
                <a:gd name="T89" fmla="*/ 28 h 38"/>
                <a:gd name="T90" fmla="*/ 479 w 625"/>
                <a:gd name="T91" fmla="*/ 12 h 38"/>
                <a:gd name="T92" fmla="*/ 473 w 625"/>
                <a:gd name="T93" fmla="*/ 28 h 38"/>
                <a:gd name="T94" fmla="*/ 522 w 625"/>
                <a:gd name="T95" fmla="*/ 33 h 38"/>
                <a:gd name="T96" fmla="*/ 520 w 625"/>
                <a:gd name="T97" fmla="*/ 11 h 38"/>
                <a:gd name="T98" fmla="*/ 512 w 625"/>
                <a:gd name="T99" fmla="*/ 21 h 38"/>
                <a:gd name="T100" fmla="*/ 551 w 625"/>
                <a:gd name="T101" fmla="*/ 35 h 38"/>
                <a:gd name="T102" fmla="*/ 527 w 625"/>
                <a:gd name="T103" fmla="*/ 37 h 38"/>
                <a:gd name="T104" fmla="*/ 547 w 625"/>
                <a:gd name="T105" fmla="*/ 18 h 38"/>
                <a:gd name="T106" fmla="*/ 563 w 625"/>
                <a:gd name="T107" fmla="*/ 11 h 38"/>
                <a:gd name="T108" fmla="*/ 580 w 625"/>
                <a:gd name="T109" fmla="*/ 19 h 38"/>
                <a:gd name="T110" fmla="*/ 590 w 625"/>
                <a:gd name="T111" fmla="*/ 35 h 38"/>
                <a:gd name="T112" fmla="*/ 599 w 625"/>
                <a:gd name="T113" fmla="*/ 22 h 38"/>
                <a:gd name="T114" fmla="*/ 604 w 625"/>
                <a:gd name="T115" fmla="*/ 37 h 38"/>
                <a:gd name="T116" fmla="*/ 625 w 625"/>
                <a:gd name="T11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38">
                  <a:moveTo>
                    <a:pt x="23" y="37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4"/>
                    <a:pt x="19" y="34"/>
                    <a:pt x="19" y="28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7" y="3"/>
                    <a:pt x="30" y="4"/>
                    <a:pt x="30" y="10"/>
                  </a:cubicBezTo>
                  <a:cubicBezTo>
                    <a:pt x="30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8"/>
                    <a:pt x="32" y="3"/>
                    <a:pt x="32" y="1"/>
                  </a:cubicBezTo>
                  <a:cubicBezTo>
                    <a:pt x="30" y="1"/>
                    <a:pt x="27" y="1"/>
                    <a:pt x="2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3"/>
                    <a:pt x="0" y="9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4"/>
                    <a:pt x="5" y="3"/>
                    <a:pt x="10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4"/>
                    <a:pt x="14" y="34"/>
                    <a:pt x="10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2" y="37"/>
                    <a:pt x="14" y="37"/>
                    <a:pt x="16" y="37"/>
                  </a:cubicBezTo>
                  <a:cubicBezTo>
                    <a:pt x="19" y="37"/>
                    <a:pt x="21" y="37"/>
                    <a:pt x="23" y="37"/>
                  </a:cubicBezTo>
                  <a:close/>
                  <a:moveTo>
                    <a:pt x="116" y="27"/>
                  </a:moveTo>
                  <a:cubicBezTo>
                    <a:pt x="116" y="21"/>
                    <a:pt x="110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9" y="17"/>
                    <a:pt x="112" y="14"/>
                    <a:pt x="112" y="9"/>
                  </a:cubicBezTo>
                  <a:cubicBezTo>
                    <a:pt x="112" y="3"/>
                    <a:pt x="105" y="1"/>
                    <a:pt x="99" y="1"/>
                  </a:cubicBezTo>
                  <a:cubicBezTo>
                    <a:pt x="97" y="1"/>
                    <a:pt x="96" y="1"/>
                    <a:pt x="94" y="1"/>
                  </a:cubicBezTo>
                  <a:cubicBezTo>
                    <a:pt x="91" y="1"/>
                    <a:pt x="89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91" y="3"/>
                    <a:pt x="91" y="3"/>
                    <a:pt x="91" y="10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4"/>
                    <a:pt x="91" y="34"/>
                    <a:pt x="87" y="35"/>
                  </a:cubicBezTo>
                  <a:cubicBezTo>
                    <a:pt x="87" y="35"/>
                    <a:pt x="87" y="35"/>
                    <a:pt x="87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9" y="37"/>
                    <a:pt x="91" y="37"/>
                    <a:pt x="94" y="37"/>
                  </a:cubicBezTo>
                  <a:cubicBezTo>
                    <a:pt x="97" y="37"/>
                    <a:pt x="98" y="37"/>
                    <a:pt x="101" y="37"/>
                  </a:cubicBezTo>
                  <a:cubicBezTo>
                    <a:pt x="110" y="37"/>
                    <a:pt x="116" y="32"/>
                    <a:pt x="116" y="27"/>
                  </a:cubicBezTo>
                  <a:close/>
                  <a:moveTo>
                    <a:pt x="110" y="27"/>
                  </a:moveTo>
                  <a:cubicBezTo>
                    <a:pt x="110" y="32"/>
                    <a:pt x="107" y="35"/>
                    <a:pt x="101" y="35"/>
                  </a:cubicBezTo>
                  <a:cubicBezTo>
                    <a:pt x="96" y="35"/>
                    <a:pt x="96" y="34"/>
                    <a:pt x="96" y="27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106" y="19"/>
                    <a:pt x="110" y="21"/>
                    <a:pt x="110" y="27"/>
                  </a:cubicBezTo>
                  <a:close/>
                  <a:moveTo>
                    <a:pt x="107" y="10"/>
                  </a:moveTo>
                  <a:cubicBezTo>
                    <a:pt x="107" y="15"/>
                    <a:pt x="104" y="17"/>
                    <a:pt x="98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3"/>
                    <a:pt x="96" y="3"/>
                    <a:pt x="97" y="3"/>
                  </a:cubicBezTo>
                  <a:cubicBezTo>
                    <a:pt x="97" y="3"/>
                    <a:pt x="99" y="3"/>
                    <a:pt x="100" y="3"/>
                  </a:cubicBezTo>
                  <a:cubicBezTo>
                    <a:pt x="104" y="3"/>
                    <a:pt x="107" y="5"/>
                    <a:pt x="107" y="10"/>
                  </a:cubicBezTo>
                  <a:close/>
                  <a:moveTo>
                    <a:pt x="276" y="37"/>
                  </a:moveTo>
                  <a:cubicBezTo>
                    <a:pt x="276" y="35"/>
                    <a:pt x="276" y="28"/>
                    <a:pt x="276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3" y="33"/>
                    <a:pt x="270" y="35"/>
                    <a:pt x="264" y="35"/>
                  </a:cubicBezTo>
                  <a:cubicBezTo>
                    <a:pt x="257" y="35"/>
                    <a:pt x="253" y="29"/>
                    <a:pt x="253" y="19"/>
                  </a:cubicBezTo>
                  <a:cubicBezTo>
                    <a:pt x="253" y="11"/>
                    <a:pt x="254" y="2"/>
                    <a:pt x="263" y="2"/>
                  </a:cubicBezTo>
                  <a:cubicBezTo>
                    <a:pt x="268" y="2"/>
                    <a:pt x="271" y="5"/>
                    <a:pt x="272" y="11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9"/>
                    <a:pt x="274" y="3"/>
                    <a:pt x="274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2" y="0"/>
                    <a:pt x="272" y="0"/>
                    <a:pt x="272" y="1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69" y="1"/>
                    <a:pt x="266" y="0"/>
                    <a:pt x="263" y="0"/>
                  </a:cubicBezTo>
                  <a:cubicBezTo>
                    <a:pt x="253" y="0"/>
                    <a:pt x="247" y="8"/>
                    <a:pt x="247" y="19"/>
                  </a:cubicBezTo>
                  <a:cubicBezTo>
                    <a:pt x="247" y="31"/>
                    <a:pt x="254" y="38"/>
                    <a:pt x="264" y="38"/>
                  </a:cubicBezTo>
                  <a:cubicBezTo>
                    <a:pt x="269" y="38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4" y="37"/>
                    <a:pt x="274" y="37"/>
                    <a:pt x="275" y="37"/>
                  </a:cubicBezTo>
                  <a:lnTo>
                    <a:pt x="276" y="37"/>
                  </a:lnTo>
                  <a:close/>
                  <a:moveTo>
                    <a:pt x="48" y="37"/>
                  </a:moveTo>
                  <a:cubicBezTo>
                    <a:pt x="47" y="37"/>
                    <a:pt x="45" y="37"/>
                    <a:pt x="43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6" y="35"/>
                    <a:pt x="46" y="35"/>
                    <a:pt x="46" y="3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5"/>
                    <a:pt x="35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5" y="37"/>
                    <a:pt x="33" y="37"/>
                  </a:cubicBezTo>
                  <a:cubicBezTo>
                    <a:pt x="31" y="37"/>
                    <a:pt x="29" y="37"/>
                    <a:pt x="27" y="37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5"/>
                    <a:pt x="28" y="35"/>
                  </a:cubicBezTo>
                  <a:cubicBezTo>
                    <a:pt x="31" y="35"/>
                    <a:pt x="31" y="35"/>
                    <a:pt x="31" y="3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4"/>
                    <a:pt x="31" y="14"/>
                    <a:pt x="28" y="14"/>
                  </a:cubicBezTo>
                  <a:cubicBezTo>
                    <a:pt x="27" y="14"/>
                    <a:pt x="27" y="14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9" y="12"/>
                    <a:pt x="31" y="12"/>
                    <a:pt x="33" y="12"/>
                  </a:cubicBezTo>
                  <a:cubicBezTo>
                    <a:pt x="35" y="12"/>
                    <a:pt x="37" y="12"/>
                    <a:pt x="38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5" y="14"/>
                    <a:pt x="35" y="14"/>
                    <a:pt x="35" y="19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4"/>
                    <a:pt x="46" y="14"/>
                    <a:pt x="43" y="14"/>
                  </a:cubicBezTo>
                  <a:cubicBezTo>
                    <a:pt x="43" y="14"/>
                    <a:pt x="43" y="14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2"/>
                    <a:pt x="47" y="12"/>
                    <a:pt x="48" y="12"/>
                  </a:cubicBezTo>
                  <a:cubicBezTo>
                    <a:pt x="50" y="12"/>
                    <a:pt x="52" y="12"/>
                    <a:pt x="54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4"/>
                    <a:pt x="51" y="14"/>
                    <a:pt x="51" y="1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5"/>
                    <a:pt x="51" y="35"/>
                    <a:pt x="54" y="35"/>
                  </a:cubicBezTo>
                  <a:cubicBezTo>
                    <a:pt x="54" y="35"/>
                    <a:pt x="54" y="36"/>
                    <a:pt x="54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2" y="37"/>
                    <a:pt x="50" y="37"/>
                    <a:pt x="48" y="37"/>
                  </a:cubicBezTo>
                  <a:close/>
                  <a:moveTo>
                    <a:pt x="69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0" y="37"/>
                    <a:pt x="58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9" y="35"/>
                    <a:pt x="59" y="35"/>
                    <a:pt x="59" y="3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4"/>
                    <a:pt x="59" y="14"/>
                    <a:pt x="56" y="14"/>
                  </a:cubicBezTo>
                  <a:cubicBezTo>
                    <a:pt x="56" y="14"/>
                    <a:pt x="56" y="14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2"/>
                    <a:pt x="60" y="12"/>
                    <a:pt x="62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71" y="12"/>
                    <a:pt x="73" y="12"/>
                    <a:pt x="74" y="12"/>
                  </a:cubicBezTo>
                  <a:cubicBezTo>
                    <a:pt x="74" y="14"/>
                    <a:pt x="74" y="17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5"/>
                    <a:pt x="71" y="14"/>
                    <a:pt x="68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7" y="23"/>
                    <a:pt x="68" y="23"/>
                    <a:pt x="68" y="20"/>
                  </a:cubicBezTo>
                  <a:cubicBezTo>
                    <a:pt x="68" y="20"/>
                    <a:pt x="68" y="20"/>
                    <a:pt x="6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0" y="23"/>
                    <a:pt x="70" y="24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5"/>
                    <a:pt x="67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5"/>
                    <a:pt x="64" y="35"/>
                    <a:pt x="67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2" y="35"/>
                    <a:pt x="74" y="34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5"/>
                    <a:pt x="76" y="37"/>
                  </a:cubicBezTo>
                  <a:cubicBezTo>
                    <a:pt x="74" y="37"/>
                    <a:pt x="72" y="37"/>
                    <a:pt x="69" y="37"/>
                  </a:cubicBezTo>
                  <a:close/>
                  <a:moveTo>
                    <a:pt x="130" y="38"/>
                  </a:moveTo>
                  <a:cubicBezTo>
                    <a:pt x="123" y="38"/>
                    <a:pt x="118" y="33"/>
                    <a:pt x="118" y="25"/>
                  </a:cubicBezTo>
                  <a:cubicBezTo>
                    <a:pt x="118" y="16"/>
                    <a:pt x="124" y="11"/>
                    <a:pt x="130" y="11"/>
                  </a:cubicBezTo>
                  <a:cubicBezTo>
                    <a:pt x="137" y="11"/>
                    <a:pt x="142" y="16"/>
                    <a:pt x="142" y="24"/>
                  </a:cubicBezTo>
                  <a:cubicBezTo>
                    <a:pt x="142" y="33"/>
                    <a:pt x="137" y="38"/>
                    <a:pt x="130" y="38"/>
                  </a:cubicBezTo>
                  <a:close/>
                  <a:moveTo>
                    <a:pt x="130" y="14"/>
                  </a:moveTo>
                  <a:cubicBezTo>
                    <a:pt x="125" y="14"/>
                    <a:pt x="123" y="17"/>
                    <a:pt x="123" y="25"/>
                  </a:cubicBezTo>
                  <a:cubicBezTo>
                    <a:pt x="123" y="32"/>
                    <a:pt x="126" y="36"/>
                    <a:pt x="130" y="36"/>
                  </a:cubicBezTo>
                  <a:cubicBezTo>
                    <a:pt x="135" y="36"/>
                    <a:pt x="137" y="32"/>
                    <a:pt x="137" y="24"/>
                  </a:cubicBezTo>
                  <a:cubicBezTo>
                    <a:pt x="137" y="17"/>
                    <a:pt x="134" y="14"/>
                    <a:pt x="130" y="14"/>
                  </a:cubicBezTo>
                  <a:close/>
                  <a:moveTo>
                    <a:pt x="146" y="36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6"/>
                    <a:pt x="144" y="31"/>
                    <a:pt x="144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9"/>
                    <a:pt x="146" y="30"/>
                  </a:cubicBezTo>
                  <a:cubicBezTo>
                    <a:pt x="146" y="33"/>
                    <a:pt x="148" y="36"/>
                    <a:pt x="152" y="36"/>
                  </a:cubicBezTo>
                  <a:cubicBezTo>
                    <a:pt x="155" y="36"/>
                    <a:pt x="157" y="34"/>
                    <a:pt x="157" y="32"/>
                  </a:cubicBezTo>
                  <a:cubicBezTo>
                    <a:pt x="157" y="25"/>
                    <a:pt x="144" y="27"/>
                    <a:pt x="144" y="19"/>
                  </a:cubicBezTo>
                  <a:cubicBezTo>
                    <a:pt x="144" y="14"/>
                    <a:pt x="147" y="11"/>
                    <a:pt x="152" y="11"/>
                  </a:cubicBezTo>
                  <a:cubicBezTo>
                    <a:pt x="153" y="11"/>
                    <a:pt x="155" y="12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4"/>
                    <a:pt x="159" y="18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6" y="16"/>
                    <a:pt x="155" y="14"/>
                    <a:pt x="152" y="14"/>
                  </a:cubicBezTo>
                  <a:cubicBezTo>
                    <a:pt x="149" y="14"/>
                    <a:pt x="148" y="15"/>
                    <a:pt x="148" y="17"/>
                  </a:cubicBezTo>
                  <a:cubicBezTo>
                    <a:pt x="148" y="23"/>
                    <a:pt x="161" y="21"/>
                    <a:pt x="161" y="30"/>
                  </a:cubicBezTo>
                  <a:cubicBezTo>
                    <a:pt x="161" y="35"/>
                    <a:pt x="156" y="38"/>
                    <a:pt x="152" y="38"/>
                  </a:cubicBezTo>
                  <a:cubicBezTo>
                    <a:pt x="149" y="38"/>
                    <a:pt x="147" y="37"/>
                    <a:pt x="146" y="36"/>
                  </a:cubicBezTo>
                  <a:close/>
                  <a:moveTo>
                    <a:pt x="172" y="37"/>
                  </a:moveTo>
                  <a:cubicBezTo>
                    <a:pt x="171" y="37"/>
                    <a:pt x="168" y="37"/>
                    <a:pt x="167" y="37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5"/>
                  </a:cubicBezTo>
                  <a:cubicBezTo>
                    <a:pt x="170" y="35"/>
                    <a:pt x="170" y="35"/>
                    <a:pt x="170" y="3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4"/>
                    <a:pt x="163" y="14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8"/>
                    <a:pt x="161" y="14"/>
                    <a:pt x="161" y="12"/>
                  </a:cubicBezTo>
                  <a:cubicBezTo>
                    <a:pt x="163" y="12"/>
                    <a:pt x="165" y="12"/>
                    <a:pt x="168" y="12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2"/>
                    <a:pt x="182" y="12"/>
                    <a:pt x="184" y="12"/>
                  </a:cubicBezTo>
                  <a:cubicBezTo>
                    <a:pt x="184" y="14"/>
                    <a:pt x="184" y="18"/>
                    <a:pt x="184" y="19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2" y="14"/>
                    <a:pt x="180" y="14"/>
                    <a:pt x="177" y="14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5" y="14"/>
                    <a:pt x="175" y="14"/>
                    <a:pt x="175" y="15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5" y="35"/>
                    <a:pt x="175" y="35"/>
                    <a:pt x="178" y="35"/>
                  </a:cubicBezTo>
                  <a:cubicBezTo>
                    <a:pt x="178" y="35"/>
                    <a:pt x="178" y="36"/>
                    <a:pt x="178" y="36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6" y="37"/>
                    <a:pt x="174" y="37"/>
                    <a:pt x="172" y="37"/>
                  </a:cubicBezTo>
                  <a:close/>
                  <a:moveTo>
                    <a:pt x="196" y="38"/>
                  </a:moveTo>
                  <a:cubicBezTo>
                    <a:pt x="189" y="38"/>
                    <a:pt x="184" y="33"/>
                    <a:pt x="184" y="25"/>
                  </a:cubicBezTo>
                  <a:cubicBezTo>
                    <a:pt x="184" y="16"/>
                    <a:pt x="190" y="11"/>
                    <a:pt x="196" y="11"/>
                  </a:cubicBezTo>
                  <a:cubicBezTo>
                    <a:pt x="203" y="11"/>
                    <a:pt x="208" y="16"/>
                    <a:pt x="208" y="24"/>
                  </a:cubicBezTo>
                  <a:cubicBezTo>
                    <a:pt x="208" y="33"/>
                    <a:pt x="203" y="38"/>
                    <a:pt x="196" y="38"/>
                  </a:cubicBezTo>
                  <a:close/>
                  <a:moveTo>
                    <a:pt x="196" y="14"/>
                  </a:moveTo>
                  <a:cubicBezTo>
                    <a:pt x="191" y="14"/>
                    <a:pt x="189" y="17"/>
                    <a:pt x="189" y="25"/>
                  </a:cubicBezTo>
                  <a:cubicBezTo>
                    <a:pt x="189" y="32"/>
                    <a:pt x="192" y="36"/>
                    <a:pt x="197" y="36"/>
                  </a:cubicBezTo>
                  <a:cubicBezTo>
                    <a:pt x="201" y="36"/>
                    <a:pt x="203" y="32"/>
                    <a:pt x="203" y="24"/>
                  </a:cubicBezTo>
                  <a:cubicBezTo>
                    <a:pt x="203" y="17"/>
                    <a:pt x="200" y="14"/>
                    <a:pt x="196" y="14"/>
                  </a:cubicBezTo>
                  <a:close/>
                  <a:moveTo>
                    <a:pt x="230" y="38"/>
                  </a:moveTo>
                  <a:cubicBezTo>
                    <a:pt x="229" y="36"/>
                    <a:pt x="228" y="35"/>
                    <a:pt x="227" y="34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34"/>
                    <a:pt x="215" y="35"/>
                    <a:pt x="220" y="35"/>
                  </a:cubicBezTo>
                  <a:cubicBezTo>
                    <a:pt x="220" y="35"/>
                    <a:pt x="220" y="36"/>
                    <a:pt x="220" y="36"/>
                  </a:cubicBezTo>
                  <a:cubicBezTo>
                    <a:pt x="220" y="37"/>
                    <a:pt x="220" y="37"/>
                    <a:pt x="220" y="37"/>
                  </a:cubicBezTo>
                  <a:cubicBezTo>
                    <a:pt x="218" y="37"/>
                    <a:pt x="216" y="37"/>
                    <a:pt x="214" y="37"/>
                  </a:cubicBezTo>
                  <a:cubicBezTo>
                    <a:pt x="212" y="37"/>
                    <a:pt x="211" y="37"/>
                    <a:pt x="209" y="37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5"/>
                    <a:pt x="210" y="35"/>
                  </a:cubicBezTo>
                  <a:cubicBezTo>
                    <a:pt x="213" y="35"/>
                    <a:pt x="213" y="34"/>
                    <a:pt x="213" y="27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13" y="14"/>
                    <a:pt x="213" y="14"/>
                    <a:pt x="210" y="14"/>
                  </a:cubicBezTo>
                  <a:cubicBezTo>
                    <a:pt x="209" y="14"/>
                    <a:pt x="209" y="14"/>
                    <a:pt x="209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11" y="12"/>
                    <a:pt x="213" y="12"/>
                    <a:pt x="214" y="12"/>
                  </a:cubicBezTo>
                  <a:cubicBezTo>
                    <a:pt x="215" y="12"/>
                    <a:pt x="217" y="12"/>
                    <a:pt x="218" y="1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15"/>
                    <a:pt x="230" y="14"/>
                    <a:pt x="226" y="14"/>
                  </a:cubicBezTo>
                  <a:cubicBezTo>
                    <a:pt x="226" y="14"/>
                    <a:pt x="226" y="14"/>
                    <a:pt x="226" y="13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2"/>
                    <a:pt x="230" y="12"/>
                    <a:pt x="232" y="12"/>
                  </a:cubicBezTo>
                  <a:cubicBezTo>
                    <a:pt x="233" y="12"/>
                    <a:pt x="235" y="12"/>
                    <a:pt x="236" y="12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4"/>
                    <a:pt x="236" y="14"/>
                    <a:pt x="236" y="14"/>
                  </a:cubicBezTo>
                  <a:cubicBezTo>
                    <a:pt x="233" y="14"/>
                    <a:pt x="233" y="15"/>
                    <a:pt x="233" y="22"/>
                  </a:cubicBezTo>
                  <a:cubicBezTo>
                    <a:pt x="233" y="38"/>
                    <a:pt x="233" y="38"/>
                    <a:pt x="233" y="38"/>
                  </a:cubicBezTo>
                  <a:lnTo>
                    <a:pt x="230" y="38"/>
                  </a:lnTo>
                  <a:close/>
                  <a:moveTo>
                    <a:pt x="290" y="38"/>
                  </a:moveTo>
                  <a:cubicBezTo>
                    <a:pt x="284" y="38"/>
                    <a:pt x="278" y="33"/>
                    <a:pt x="278" y="25"/>
                  </a:cubicBezTo>
                  <a:cubicBezTo>
                    <a:pt x="278" y="16"/>
                    <a:pt x="284" y="11"/>
                    <a:pt x="290" y="11"/>
                  </a:cubicBezTo>
                  <a:cubicBezTo>
                    <a:pt x="297" y="11"/>
                    <a:pt x="302" y="16"/>
                    <a:pt x="302" y="24"/>
                  </a:cubicBezTo>
                  <a:cubicBezTo>
                    <a:pt x="302" y="33"/>
                    <a:pt x="297" y="38"/>
                    <a:pt x="290" y="38"/>
                  </a:cubicBezTo>
                  <a:close/>
                  <a:moveTo>
                    <a:pt x="290" y="14"/>
                  </a:moveTo>
                  <a:cubicBezTo>
                    <a:pt x="285" y="14"/>
                    <a:pt x="283" y="17"/>
                    <a:pt x="283" y="25"/>
                  </a:cubicBezTo>
                  <a:cubicBezTo>
                    <a:pt x="283" y="32"/>
                    <a:pt x="286" y="36"/>
                    <a:pt x="291" y="36"/>
                  </a:cubicBezTo>
                  <a:cubicBezTo>
                    <a:pt x="295" y="36"/>
                    <a:pt x="298" y="32"/>
                    <a:pt x="298" y="24"/>
                  </a:cubicBezTo>
                  <a:cubicBezTo>
                    <a:pt x="298" y="17"/>
                    <a:pt x="294" y="14"/>
                    <a:pt x="290" y="14"/>
                  </a:cubicBezTo>
                  <a:close/>
                  <a:moveTo>
                    <a:pt x="324" y="38"/>
                  </a:moveTo>
                  <a:cubicBezTo>
                    <a:pt x="323" y="36"/>
                    <a:pt x="322" y="35"/>
                    <a:pt x="321" y="34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27"/>
                    <a:pt x="310" y="27"/>
                    <a:pt x="310" y="27"/>
                  </a:cubicBezTo>
                  <a:cubicBezTo>
                    <a:pt x="310" y="34"/>
                    <a:pt x="310" y="35"/>
                    <a:pt x="314" y="35"/>
                  </a:cubicBezTo>
                  <a:cubicBezTo>
                    <a:pt x="314" y="35"/>
                    <a:pt x="314" y="36"/>
                    <a:pt x="314" y="36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13" y="37"/>
                    <a:pt x="310" y="37"/>
                    <a:pt x="308" y="37"/>
                  </a:cubicBezTo>
                  <a:cubicBezTo>
                    <a:pt x="306" y="37"/>
                    <a:pt x="305" y="37"/>
                    <a:pt x="303" y="37"/>
                  </a:cubicBezTo>
                  <a:cubicBezTo>
                    <a:pt x="303" y="36"/>
                    <a:pt x="303" y="36"/>
                    <a:pt x="303" y="36"/>
                  </a:cubicBezTo>
                  <a:cubicBezTo>
                    <a:pt x="303" y="36"/>
                    <a:pt x="304" y="35"/>
                    <a:pt x="304" y="35"/>
                  </a:cubicBezTo>
                  <a:cubicBezTo>
                    <a:pt x="307" y="35"/>
                    <a:pt x="307" y="34"/>
                    <a:pt x="307" y="27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07" y="14"/>
                    <a:pt x="307" y="14"/>
                    <a:pt x="304" y="14"/>
                  </a:cubicBezTo>
                  <a:cubicBezTo>
                    <a:pt x="304" y="14"/>
                    <a:pt x="303" y="14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5" y="12"/>
                    <a:pt x="307" y="12"/>
                    <a:pt x="308" y="12"/>
                  </a:cubicBezTo>
                  <a:cubicBezTo>
                    <a:pt x="309" y="12"/>
                    <a:pt x="311" y="12"/>
                    <a:pt x="312" y="12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4" y="15"/>
                    <a:pt x="324" y="14"/>
                    <a:pt x="320" y="14"/>
                  </a:cubicBezTo>
                  <a:cubicBezTo>
                    <a:pt x="320" y="14"/>
                    <a:pt x="320" y="14"/>
                    <a:pt x="320" y="13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1" y="12"/>
                    <a:pt x="324" y="12"/>
                    <a:pt x="326" y="12"/>
                  </a:cubicBezTo>
                  <a:cubicBezTo>
                    <a:pt x="328" y="12"/>
                    <a:pt x="329" y="12"/>
                    <a:pt x="330" y="12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14"/>
                    <a:pt x="330" y="14"/>
                    <a:pt x="330" y="14"/>
                  </a:cubicBezTo>
                  <a:cubicBezTo>
                    <a:pt x="327" y="14"/>
                    <a:pt x="327" y="15"/>
                    <a:pt x="327" y="22"/>
                  </a:cubicBezTo>
                  <a:cubicBezTo>
                    <a:pt x="327" y="38"/>
                    <a:pt x="327" y="38"/>
                    <a:pt x="327" y="38"/>
                  </a:cubicBezTo>
                  <a:lnTo>
                    <a:pt x="324" y="38"/>
                  </a:lnTo>
                  <a:close/>
                  <a:moveTo>
                    <a:pt x="335" y="36"/>
                  </a:moveTo>
                  <a:cubicBezTo>
                    <a:pt x="334" y="37"/>
                    <a:pt x="334" y="37"/>
                    <a:pt x="334" y="37"/>
                  </a:cubicBezTo>
                  <a:cubicBezTo>
                    <a:pt x="334" y="37"/>
                    <a:pt x="334" y="37"/>
                    <a:pt x="333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1"/>
                    <a:pt x="333" y="29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34" y="29"/>
                    <a:pt x="334" y="29"/>
                    <a:pt x="334" y="30"/>
                  </a:cubicBezTo>
                  <a:cubicBezTo>
                    <a:pt x="335" y="33"/>
                    <a:pt x="337" y="36"/>
                    <a:pt x="340" y="36"/>
                  </a:cubicBezTo>
                  <a:cubicBezTo>
                    <a:pt x="343" y="36"/>
                    <a:pt x="345" y="34"/>
                    <a:pt x="345" y="32"/>
                  </a:cubicBezTo>
                  <a:cubicBezTo>
                    <a:pt x="345" y="25"/>
                    <a:pt x="333" y="27"/>
                    <a:pt x="333" y="19"/>
                  </a:cubicBezTo>
                  <a:cubicBezTo>
                    <a:pt x="333" y="14"/>
                    <a:pt x="336" y="11"/>
                    <a:pt x="340" y="11"/>
                  </a:cubicBezTo>
                  <a:cubicBezTo>
                    <a:pt x="342" y="11"/>
                    <a:pt x="344" y="12"/>
                    <a:pt x="345" y="13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47" y="13"/>
                    <a:pt x="347" y="17"/>
                    <a:pt x="347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5" y="16"/>
                    <a:pt x="343" y="14"/>
                    <a:pt x="340" y="14"/>
                  </a:cubicBezTo>
                  <a:cubicBezTo>
                    <a:pt x="337" y="14"/>
                    <a:pt x="336" y="15"/>
                    <a:pt x="336" y="17"/>
                  </a:cubicBezTo>
                  <a:cubicBezTo>
                    <a:pt x="336" y="23"/>
                    <a:pt x="349" y="21"/>
                    <a:pt x="349" y="30"/>
                  </a:cubicBezTo>
                  <a:cubicBezTo>
                    <a:pt x="349" y="35"/>
                    <a:pt x="345" y="38"/>
                    <a:pt x="340" y="38"/>
                  </a:cubicBezTo>
                  <a:cubicBezTo>
                    <a:pt x="338" y="38"/>
                    <a:pt x="336" y="37"/>
                    <a:pt x="335" y="36"/>
                  </a:cubicBezTo>
                  <a:close/>
                  <a:moveTo>
                    <a:pt x="364" y="38"/>
                  </a:moveTo>
                  <a:cubicBezTo>
                    <a:pt x="357" y="38"/>
                    <a:pt x="354" y="35"/>
                    <a:pt x="354" y="28"/>
                  </a:cubicBezTo>
                  <a:cubicBezTo>
                    <a:pt x="354" y="19"/>
                    <a:pt x="354" y="19"/>
                    <a:pt x="354" y="19"/>
                  </a:cubicBezTo>
                  <a:cubicBezTo>
                    <a:pt x="354" y="14"/>
                    <a:pt x="354" y="14"/>
                    <a:pt x="350" y="14"/>
                  </a:cubicBezTo>
                  <a:cubicBezTo>
                    <a:pt x="350" y="14"/>
                    <a:pt x="350" y="14"/>
                    <a:pt x="350" y="13"/>
                  </a:cubicBezTo>
                  <a:cubicBezTo>
                    <a:pt x="350" y="12"/>
                    <a:pt x="350" y="12"/>
                    <a:pt x="350" y="12"/>
                  </a:cubicBezTo>
                  <a:cubicBezTo>
                    <a:pt x="352" y="12"/>
                    <a:pt x="354" y="12"/>
                    <a:pt x="356" y="12"/>
                  </a:cubicBezTo>
                  <a:cubicBezTo>
                    <a:pt x="357" y="12"/>
                    <a:pt x="360" y="12"/>
                    <a:pt x="361" y="12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1" y="14"/>
                    <a:pt x="361" y="14"/>
                    <a:pt x="361" y="14"/>
                  </a:cubicBezTo>
                  <a:cubicBezTo>
                    <a:pt x="358" y="14"/>
                    <a:pt x="358" y="14"/>
                    <a:pt x="358" y="19"/>
                  </a:cubicBezTo>
                  <a:cubicBezTo>
                    <a:pt x="358" y="29"/>
                    <a:pt x="358" y="29"/>
                    <a:pt x="358" y="29"/>
                  </a:cubicBezTo>
                  <a:cubicBezTo>
                    <a:pt x="358" y="33"/>
                    <a:pt x="360" y="35"/>
                    <a:pt x="364" y="35"/>
                  </a:cubicBezTo>
                  <a:cubicBezTo>
                    <a:pt x="369" y="35"/>
                    <a:pt x="371" y="33"/>
                    <a:pt x="371" y="28"/>
                  </a:cubicBezTo>
                  <a:cubicBezTo>
                    <a:pt x="371" y="22"/>
                    <a:pt x="371" y="22"/>
                    <a:pt x="371" y="22"/>
                  </a:cubicBezTo>
                  <a:cubicBezTo>
                    <a:pt x="371" y="15"/>
                    <a:pt x="371" y="14"/>
                    <a:pt x="366" y="14"/>
                  </a:cubicBezTo>
                  <a:cubicBezTo>
                    <a:pt x="366" y="14"/>
                    <a:pt x="366" y="14"/>
                    <a:pt x="366" y="13"/>
                  </a:cubicBez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70" y="12"/>
                    <a:pt x="372" y="12"/>
                  </a:cubicBezTo>
                  <a:cubicBezTo>
                    <a:pt x="374" y="12"/>
                    <a:pt x="374" y="12"/>
                    <a:pt x="376" y="12"/>
                  </a:cubicBezTo>
                  <a:cubicBezTo>
                    <a:pt x="376" y="13"/>
                    <a:pt x="376" y="13"/>
                    <a:pt x="376" y="13"/>
                  </a:cubicBezTo>
                  <a:cubicBezTo>
                    <a:pt x="376" y="14"/>
                    <a:pt x="376" y="14"/>
                    <a:pt x="376" y="14"/>
                  </a:cubicBezTo>
                  <a:cubicBezTo>
                    <a:pt x="373" y="14"/>
                    <a:pt x="373" y="15"/>
                    <a:pt x="373" y="22"/>
                  </a:cubicBezTo>
                  <a:cubicBezTo>
                    <a:pt x="373" y="28"/>
                    <a:pt x="373" y="28"/>
                    <a:pt x="373" y="28"/>
                  </a:cubicBezTo>
                  <a:cubicBezTo>
                    <a:pt x="373" y="35"/>
                    <a:pt x="370" y="38"/>
                    <a:pt x="364" y="38"/>
                  </a:cubicBezTo>
                  <a:close/>
                  <a:moveTo>
                    <a:pt x="392" y="37"/>
                  </a:moveTo>
                  <a:cubicBezTo>
                    <a:pt x="383" y="37"/>
                    <a:pt x="383" y="37"/>
                    <a:pt x="383" y="37"/>
                  </a:cubicBezTo>
                  <a:cubicBezTo>
                    <a:pt x="381" y="37"/>
                    <a:pt x="379" y="37"/>
                    <a:pt x="378" y="37"/>
                  </a:cubicBezTo>
                  <a:cubicBezTo>
                    <a:pt x="378" y="36"/>
                    <a:pt x="378" y="36"/>
                    <a:pt x="378" y="36"/>
                  </a:cubicBezTo>
                  <a:cubicBezTo>
                    <a:pt x="378" y="36"/>
                    <a:pt x="378" y="35"/>
                    <a:pt x="378" y="35"/>
                  </a:cubicBezTo>
                  <a:cubicBezTo>
                    <a:pt x="381" y="35"/>
                    <a:pt x="381" y="35"/>
                    <a:pt x="381" y="30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4"/>
                    <a:pt x="381" y="14"/>
                    <a:pt x="378" y="14"/>
                  </a:cubicBezTo>
                  <a:cubicBezTo>
                    <a:pt x="378" y="14"/>
                    <a:pt x="378" y="14"/>
                    <a:pt x="378" y="13"/>
                  </a:cubicBezTo>
                  <a:cubicBezTo>
                    <a:pt x="378" y="12"/>
                    <a:pt x="378" y="12"/>
                    <a:pt x="378" y="12"/>
                  </a:cubicBezTo>
                  <a:cubicBezTo>
                    <a:pt x="379" y="12"/>
                    <a:pt x="382" y="12"/>
                    <a:pt x="383" y="12"/>
                  </a:cubicBezTo>
                  <a:cubicBezTo>
                    <a:pt x="385" y="12"/>
                    <a:pt x="388" y="12"/>
                    <a:pt x="390" y="12"/>
                  </a:cubicBezTo>
                  <a:cubicBezTo>
                    <a:pt x="390" y="13"/>
                    <a:pt x="390" y="13"/>
                    <a:pt x="390" y="13"/>
                  </a:cubicBezTo>
                  <a:cubicBezTo>
                    <a:pt x="390" y="14"/>
                    <a:pt x="390" y="14"/>
                    <a:pt x="389" y="14"/>
                  </a:cubicBezTo>
                  <a:cubicBezTo>
                    <a:pt x="386" y="14"/>
                    <a:pt x="386" y="14"/>
                    <a:pt x="386" y="19"/>
                  </a:cubicBezTo>
                  <a:cubicBezTo>
                    <a:pt x="386" y="30"/>
                    <a:pt x="386" y="30"/>
                    <a:pt x="386" y="30"/>
                  </a:cubicBezTo>
                  <a:cubicBezTo>
                    <a:pt x="386" y="35"/>
                    <a:pt x="386" y="35"/>
                    <a:pt x="389" y="35"/>
                  </a:cubicBezTo>
                  <a:cubicBezTo>
                    <a:pt x="391" y="35"/>
                    <a:pt x="391" y="35"/>
                    <a:pt x="391" y="35"/>
                  </a:cubicBezTo>
                  <a:cubicBezTo>
                    <a:pt x="394" y="35"/>
                    <a:pt x="395" y="34"/>
                    <a:pt x="396" y="29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397" y="31"/>
                    <a:pt x="397" y="35"/>
                    <a:pt x="397" y="37"/>
                  </a:cubicBezTo>
                  <a:cubicBezTo>
                    <a:pt x="396" y="37"/>
                    <a:pt x="395" y="37"/>
                    <a:pt x="392" y="37"/>
                  </a:cubicBezTo>
                  <a:close/>
                  <a:moveTo>
                    <a:pt x="407" y="37"/>
                  </a:moveTo>
                  <a:cubicBezTo>
                    <a:pt x="405" y="37"/>
                    <a:pt x="403" y="37"/>
                    <a:pt x="401" y="37"/>
                  </a:cubicBezTo>
                  <a:cubicBezTo>
                    <a:pt x="401" y="36"/>
                    <a:pt x="401" y="36"/>
                    <a:pt x="401" y="36"/>
                  </a:cubicBezTo>
                  <a:cubicBezTo>
                    <a:pt x="401" y="36"/>
                    <a:pt x="401" y="35"/>
                    <a:pt x="401" y="35"/>
                  </a:cubicBezTo>
                  <a:cubicBezTo>
                    <a:pt x="404" y="35"/>
                    <a:pt x="404" y="35"/>
                    <a:pt x="404" y="30"/>
                  </a:cubicBezTo>
                  <a:cubicBezTo>
                    <a:pt x="404" y="15"/>
                    <a:pt x="404" y="15"/>
                    <a:pt x="404" y="15"/>
                  </a:cubicBezTo>
                  <a:cubicBezTo>
                    <a:pt x="404" y="14"/>
                    <a:pt x="404" y="14"/>
                    <a:pt x="404" y="14"/>
                  </a:cubicBezTo>
                  <a:cubicBezTo>
                    <a:pt x="402" y="14"/>
                    <a:pt x="402" y="14"/>
                    <a:pt x="402" y="14"/>
                  </a:cubicBezTo>
                  <a:cubicBezTo>
                    <a:pt x="399" y="14"/>
                    <a:pt x="397" y="14"/>
                    <a:pt x="397" y="19"/>
                  </a:cubicBezTo>
                  <a:cubicBezTo>
                    <a:pt x="397" y="19"/>
                    <a:pt x="397" y="19"/>
                    <a:pt x="396" y="19"/>
                  </a:cubicBezTo>
                  <a:cubicBezTo>
                    <a:pt x="395" y="19"/>
                    <a:pt x="395" y="19"/>
                    <a:pt x="395" y="19"/>
                  </a:cubicBezTo>
                  <a:cubicBezTo>
                    <a:pt x="395" y="18"/>
                    <a:pt x="395" y="14"/>
                    <a:pt x="395" y="12"/>
                  </a:cubicBezTo>
                  <a:cubicBezTo>
                    <a:pt x="397" y="12"/>
                    <a:pt x="399" y="12"/>
                    <a:pt x="402" y="12"/>
                  </a:cubicBezTo>
                  <a:cubicBezTo>
                    <a:pt x="411" y="12"/>
                    <a:pt x="411" y="12"/>
                    <a:pt x="411" y="12"/>
                  </a:cubicBezTo>
                  <a:cubicBezTo>
                    <a:pt x="414" y="12"/>
                    <a:pt x="416" y="12"/>
                    <a:pt x="418" y="12"/>
                  </a:cubicBezTo>
                  <a:cubicBezTo>
                    <a:pt x="418" y="14"/>
                    <a:pt x="418" y="18"/>
                    <a:pt x="418" y="19"/>
                  </a:cubicBezTo>
                  <a:cubicBezTo>
                    <a:pt x="417" y="19"/>
                    <a:pt x="417" y="19"/>
                    <a:pt x="417" y="19"/>
                  </a:cubicBezTo>
                  <a:cubicBezTo>
                    <a:pt x="417" y="19"/>
                    <a:pt x="416" y="19"/>
                    <a:pt x="416" y="19"/>
                  </a:cubicBezTo>
                  <a:cubicBezTo>
                    <a:pt x="416" y="14"/>
                    <a:pt x="414" y="14"/>
                    <a:pt x="411" y="14"/>
                  </a:cubicBezTo>
                  <a:cubicBezTo>
                    <a:pt x="409" y="14"/>
                    <a:pt x="409" y="14"/>
                    <a:pt x="409" y="14"/>
                  </a:cubicBezTo>
                  <a:cubicBezTo>
                    <a:pt x="409" y="14"/>
                    <a:pt x="409" y="14"/>
                    <a:pt x="409" y="15"/>
                  </a:cubicBezTo>
                  <a:cubicBezTo>
                    <a:pt x="409" y="30"/>
                    <a:pt x="409" y="30"/>
                    <a:pt x="409" y="30"/>
                  </a:cubicBezTo>
                  <a:cubicBezTo>
                    <a:pt x="409" y="35"/>
                    <a:pt x="409" y="35"/>
                    <a:pt x="412" y="35"/>
                  </a:cubicBezTo>
                  <a:cubicBezTo>
                    <a:pt x="412" y="35"/>
                    <a:pt x="412" y="36"/>
                    <a:pt x="412" y="36"/>
                  </a:cubicBezTo>
                  <a:cubicBezTo>
                    <a:pt x="412" y="37"/>
                    <a:pt x="412" y="37"/>
                    <a:pt x="412" y="37"/>
                  </a:cubicBezTo>
                  <a:cubicBezTo>
                    <a:pt x="410" y="37"/>
                    <a:pt x="408" y="37"/>
                    <a:pt x="407" y="37"/>
                  </a:cubicBezTo>
                  <a:close/>
                  <a:moveTo>
                    <a:pt x="425" y="37"/>
                  </a:moveTo>
                  <a:cubicBezTo>
                    <a:pt x="423" y="37"/>
                    <a:pt x="421" y="37"/>
                    <a:pt x="419" y="37"/>
                  </a:cubicBezTo>
                  <a:cubicBezTo>
                    <a:pt x="419" y="36"/>
                    <a:pt x="419" y="36"/>
                    <a:pt x="419" y="36"/>
                  </a:cubicBezTo>
                  <a:cubicBezTo>
                    <a:pt x="419" y="36"/>
                    <a:pt x="419" y="35"/>
                    <a:pt x="420" y="35"/>
                  </a:cubicBezTo>
                  <a:cubicBezTo>
                    <a:pt x="423" y="35"/>
                    <a:pt x="423" y="35"/>
                    <a:pt x="423" y="30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3" y="14"/>
                    <a:pt x="423" y="14"/>
                    <a:pt x="420" y="14"/>
                  </a:cubicBezTo>
                  <a:cubicBezTo>
                    <a:pt x="419" y="14"/>
                    <a:pt x="419" y="14"/>
                    <a:pt x="419" y="13"/>
                  </a:cubicBezTo>
                  <a:cubicBezTo>
                    <a:pt x="419" y="12"/>
                    <a:pt x="419" y="12"/>
                    <a:pt x="419" y="12"/>
                  </a:cubicBezTo>
                  <a:cubicBezTo>
                    <a:pt x="421" y="12"/>
                    <a:pt x="423" y="12"/>
                    <a:pt x="425" y="12"/>
                  </a:cubicBezTo>
                  <a:cubicBezTo>
                    <a:pt x="427" y="12"/>
                    <a:pt x="429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27" y="14"/>
                    <a:pt x="427" y="14"/>
                    <a:pt x="427" y="19"/>
                  </a:cubicBezTo>
                  <a:cubicBezTo>
                    <a:pt x="427" y="30"/>
                    <a:pt x="427" y="30"/>
                    <a:pt x="427" y="30"/>
                  </a:cubicBezTo>
                  <a:cubicBezTo>
                    <a:pt x="427" y="35"/>
                    <a:pt x="427" y="35"/>
                    <a:pt x="430" y="35"/>
                  </a:cubicBezTo>
                  <a:cubicBezTo>
                    <a:pt x="430" y="35"/>
                    <a:pt x="430" y="36"/>
                    <a:pt x="430" y="36"/>
                  </a:cubicBezTo>
                  <a:cubicBezTo>
                    <a:pt x="430" y="37"/>
                    <a:pt x="430" y="37"/>
                    <a:pt x="430" y="37"/>
                  </a:cubicBezTo>
                  <a:cubicBezTo>
                    <a:pt x="429" y="37"/>
                    <a:pt x="427" y="37"/>
                    <a:pt x="425" y="37"/>
                  </a:cubicBezTo>
                  <a:close/>
                  <a:moveTo>
                    <a:pt x="453" y="38"/>
                  </a:moveTo>
                  <a:cubicBezTo>
                    <a:pt x="452" y="36"/>
                    <a:pt x="451" y="35"/>
                    <a:pt x="450" y="34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34"/>
                    <a:pt x="438" y="35"/>
                    <a:pt x="443" y="35"/>
                  </a:cubicBezTo>
                  <a:cubicBezTo>
                    <a:pt x="443" y="35"/>
                    <a:pt x="443" y="36"/>
                    <a:pt x="443" y="36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41" y="37"/>
                    <a:pt x="439" y="37"/>
                    <a:pt x="437" y="37"/>
                  </a:cubicBezTo>
                  <a:cubicBezTo>
                    <a:pt x="435" y="37"/>
                    <a:pt x="434" y="37"/>
                    <a:pt x="432" y="37"/>
                  </a:cubicBezTo>
                  <a:cubicBezTo>
                    <a:pt x="432" y="36"/>
                    <a:pt x="432" y="36"/>
                    <a:pt x="432" y="36"/>
                  </a:cubicBezTo>
                  <a:cubicBezTo>
                    <a:pt x="432" y="36"/>
                    <a:pt x="432" y="35"/>
                    <a:pt x="433" y="35"/>
                  </a:cubicBezTo>
                  <a:cubicBezTo>
                    <a:pt x="436" y="35"/>
                    <a:pt x="436" y="34"/>
                    <a:pt x="436" y="27"/>
                  </a:cubicBezTo>
                  <a:cubicBezTo>
                    <a:pt x="436" y="19"/>
                    <a:pt x="436" y="19"/>
                    <a:pt x="436" y="19"/>
                  </a:cubicBezTo>
                  <a:cubicBezTo>
                    <a:pt x="436" y="14"/>
                    <a:pt x="436" y="14"/>
                    <a:pt x="433" y="14"/>
                  </a:cubicBezTo>
                  <a:cubicBezTo>
                    <a:pt x="432" y="14"/>
                    <a:pt x="432" y="14"/>
                    <a:pt x="432" y="13"/>
                  </a:cubicBezTo>
                  <a:cubicBezTo>
                    <a:pt x="432" y="12"/>
                    <a:pt x="432" y="12"/>
                    <a:pt x="432" y="12"/>
                  </a:cubicBezTo>
                  <a:cubicBezTo>
                    <a:pt x="434" y="12"/>
                    <a:pt x="436" y="12"/>
                    <a:pt x="437" y="12"/>
                  </a:cubicBezTo>
                  <a:cubicBezTo>
                    <a:pt x="438" y="12"/>
                    <a:pt x="439" y="12"/>
                    <a:pt x="440" y="12"/>
                  </a:cubicBezTo>
                  <a:cubicBezTo>
                    <a:pt x="453" y="30"/>
                    <a:pt x="453" y="30"/>
                    <a:pt x="453" y="30"/>
                  </a:cubicBezTo>
                  <a:cubicBezTo>
                    <a:pt x="453" y="22"/>
                    <a:pt x="453" y="22"/>
                    <a:pt x="453" y="22"/>
                  </a:cubicBezTo>
                  <a:cubicBezTo>
                    <a:pt x="453" y="15"/>
                    <a:pt x="453" y="14"/>
                    <a:pt x="449" y="14"/>
                  </a:cubicBezTo>
                  <a:cubicBezTo>
                    <a:pt x="449" y="14"/>
                    <a:pt x="449" y="14"/>
                    <a:pt x="449" y="13"/>
                  </a:cubicBezTo>
                  <a:cubicBezTo>
                    <a:pt x="449" y="12"/>
                    <a:pt x="449" y="12"/>
                    <a:pt x="449" y="12"/>
                  </a:cubicBezTo>
                  <a:cubicBezTo>
                    <a:pt x="450" y="12"/>
                    <a:pt x="453" y="12"/>
                    <a:pt x="455" y="12"/>
                  </a:cubicBezTo>
                  <a:cubicBezTo>
                    <a:pt x="456" y="12"/>
                    <a:pt x="458" y="12"/>
                    <a:pt x="459" y="12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6" y="14"/>
                    <a:pt x="456" y="15"/>
                    <a:pt x="456" y="22"/>
                  </a:cubicBezTo>
                  <a:cubicBezTo>
                    <a:pt x="456" y="38"/>
                    <a:pt x="456" y="38"/>
                    <a:pt x="456" y="38"/>
                  </a:cubicBezTo>
                  <a:lnTo>
                    <a:pt x="453" y="38"/>
                  </a:lnTo>
                  <a:close/>
                  <a:moveTo>
                    <a:pt x="484" y="27"/>
                  </a:moveTo>
                  <a:cubicBezTo>
                    <a:pt x="484" y="28"/>
                    <a:pt x="484" y="28"/>
                    <a:pt x="484" y="28"/>
                  </a:cubicBezTo>
                  <a:cubicBezTo>
                    <a:pt x="481" y="28"/>
                    <a:pt x="481" y="28"/>
                    <a:pt x="481" y="31"/>
                  </a:cubicBezTo>
                  <a:cubicBezTo>
                    <a:pt x="481" y="32"/>
                    <a:pt x="481" y="32"/>
                    <a:pt x="481" y="32"/>
                  </a:cubicBezTo>
                  <a:cubicBezTo>
                    <a:pt x="481" y="33"/>
                    <a:pt x="482" y="34"/>
                    <a:pt x="482" y="34"/>
                  </a:cubicBezTo>
                  <a:cubicBezTo>
                    <a:pt x="482" y="35"/>
                    <a:pt x="481" y="35"/>
                    <a:pt x="481" y="35"/>
                  </a:cubicBezTo>
                  <a:cubicBezTo>
                    <a:pt x="479" y="35"/>
                    <a:pt x="478" y="38"/>
                    <a:pt x="472" y="38"/>
                  </a:cubicBezTo>
                  <a:cubicBezTo>
                    <a:pt x="465" y="38"/>
                    <a:pt x="460" y="33"/>
                    <a:pt x="460" y="24"/>
                  </a:cubicBezTo>
                  <a:cubicBezTo>
                    <a:pt x="460" y="17"/>
                    <a:pt x="464" y="11"/>
                    <a:pt x="472" y="11"/>
                  </a:cubicBezTo>
                  <a:cubicBezTo>
                    <a:pt x="475" y="11"/>
                    <a:pt x="477" y="12"/>
                    <a:pt x="478" y="13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80" y="12"/>
                    <a:pt x="480" y="12"/>
                    <a:pt x="480" y="12"/>
                  </a:cubicBezTo>
                  <a:cubicBezTo>
                    <a:pt x="480" y="13"/>
                    <a:pt x="480" y="18"/>
                    <a:pt x="480" y="19"/>
                  </a:cubicBezTo>
                  <a:cubicBezTo>
                    <a:pt x="479" y="19"/>
                    <a:pt x="479" y="19"/>
                    <a:pt x="479" y="19"/>
                  </a:cubicBezTo>
                  <a:cubicBezTo>
                    <a:pt x="479" y="19"/>
                    <a:pt x="478" y="19"/>
                    <a:pt x="478" y="19"/>
                  </a:cubicBezTo>
                  <a:cubicBezTo>
                    <a:pt x="478" y="15"/>
                    <a:pt x="476" y="14"/>
                    <a:pt x="472" y="14"/>
                  </a:cubicBezTo>
                  <a:cubicBezTo>
                    <a:pt x="466" y="14"/>
                    <a:pt x="465" y="19"/>
                    <a:pt x="465" y="24"/>
                  </a:cubicBezTo>
                  <a:cubicBezTo>
                    <a:pt x="465" y="30"/>
                    <a:pt x="467" y="36"/>
                    <a:pt x="473" y="36"/>
                  </a:cubicBezTo>
                  <a:cubicBezTo>
                    <a:pt x="476" y="36"/>
                    <a:pt x="477" y="34"/>
                    <a:pt x="477" y="32"/>
                  </a:cubicBezTo>
                  <a:cubicBezTo>
                    <a:pt x="477" y="31"/>
                    <a:pt x="477" y="31"/>
                    <a:pt x="477" y="31"/>
                  </a:cubicBezTo>
                  <a:cubicBezTo>
                    <a:pt x="477" y="28"/>
                    <a:pt x="477" y="28"/>
                    <a:pt x="473" y="28"/>
                  </a:cubicBezTo>
                  <a:cubicBezTo>
                    <a:pt x="473" y="28"/>
                    <a:pt x="473" y="28"/>
                    <a:pt x="473" y="27"/>
                  </a:cubicBezTo>
                  <a:cubicBezTo>
                    <a:pt x="473" y="26"/>
                    <a:pt x="473" y="26"/>
                    <a:pt x="473" y="26"/>
                  </a:cubicBezTo>
                  <a:cubicBezTo>
                    <a:pt x="475" y="26"/>
                    <a:pt x="477" y="26"/>
                    <a:pt x="479" y="26"/>
                  </a:cubicBezTo>
                  <a:cubicBezTo>
                    <a:pt x="481" y="26"/>
                    <a:pt x="482" y="26"/>
                    <a:pt x="484" y="26"/>
                  </a:cubicBezTo>
                  <a:lnTo>
                    <a:pt x="484" y="27"/>
                  </a:lnTo>
                  <a:close/>
                  <a:moveTo>
                    <a:pt x="526" y="23"/>
                  </a:moveTo>
                  <a:cubicBezTo>
                    <a:pt x="526" y="23"/>
                    <a:pt x="526" y="23"/>
                    <a:pt x="525" y="23"/>
                  </a:cubicBezTo>
                  <a:cubicBezTo>
                    <a:pt x="522" y="24"/>
                    <a:pt x="522" y="24"/>
                    <a:pt x="522" y="28"/>
                  </a:cubicBezTo>
                  <a:cubicBezTo>
                    <a:pt x="522" y="30"/>
                    <a:pt x="522" y="30"/>
                    <a:pt x="522" y="30"/>
                  </a:cubicBezTo>
                  <a:cubicBezTo>
                    <a:pt x="522" y="31"/>
                    <a:pt x="522" y="32"/>
                    <a:pt x="522" y="33"/>
                  </a:cubicBezTo>
                  <a:cubicBezTo>
                    <a:pt x="522" y="33"/>
                    <a:pt x="522" y="33"/>
                    <a:pt x="522" y="33"/>
                  </a:cubicBezTo>
                  <a:cubicBezTo>
                    <a:pt x="519" y="33"/>
                    <a:pt x="517" y="38"/>
                    <a:pt x="510" y="38"/>
                  </a:cubicBezTo>
                  <a:cubicBezTo>
                    <a:pt x="500" y="38"/>
                    <a:pt x="493" y="31"/>
                    <a:pt x="493" y="19"/>
                  </a:cubicBezTo>
                  <a:cubicBezTo>
                    <a:pt x="493" y="8"/>
                    <a:pt x="499" y="0"/>
                    <a:pt x="510" y="0"/>
                  </a:cubicBezTo>
                  <a:cubicBezTo>
                    <a:pt x="513" y="0"/>
                    <a:pt x="516" y="1"/>
                    <a:pt x="518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9" y="1"/>
                    <a:pt x="519" y="1"/>
                    <a:pt x="519" y="1"/>
                  </a:cubicBezTo>
                  <a:cubicBezTo>
                    <a:pt x="519" y="0"/>
                    <a:pt x="519" y="0"/>
                    <a:pt x="52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20" y="3"/>
                    <a:pt x="520" y="8"/>
                    <a:pt x="520" y="11"/>
                  </a:cubicBezTo>
                  <a:cubicBezTo>
                    <a:pt x="519" y="11"/>
                    <a:pt x="519" y="11"/>
                    <a:pt x="519" y="11"/>
                  </a:cubicBezTo>
                  <a:cubicBezTo>
                    <a:pt x="519" y="11"/>
                    <a:pt x="519" y="11"/>
                    <a:pt x="519" y="10"/>
                  </a:cubicBezTo>
                  <a:cubicBezTo>
                    <a:pt x="517" y="5"/>
                    <a:pt x="515" y="2"/>
                    <a:pt x="510" y="2"/>
                  </a:cubicBezTo>
                  <a:cubicBezTo>
                    <a:pt x="501" y="2"/>
                    <a:pt x="499" y="11"/>
                    <a:pt x="499" y="19"/>
                  </a:cubicBezTo>
                  <a:cubicBezTo>
                    <a:pt x="499" y="27"/>
                    <a:pt x="501" y="35"/>
                    <a:pt x="510" y="35"/>
                  </a:cubicBezTo>
                  <a:cubicBezTo>
                    <a:pt x="515" y="35"/>
                    <a:pt x="518" y="33"/>
                    <a:pt x="518" y="30"/>
                  </a:cubicBezTo>
                  <a:cubicBezTo>
                    <a:pt x="518" y="28"/>
                    <a:pt x="518" y="28"/>
                    <a:pt x="518" y="28"/>
                  </a:cubicBezTo>
                  <a:cubicBezTo>
                    <a:pt x="518" y="24"/>
                    <a:pt x="518" y="24"/>
                    <a:pt x="512" y="23"/>
                  </a:cubicBezTo>
                  <a:cubicBezTo>
                    <a:pt x="512" y="23"/>
                    <a:pt x="512" y="23"/>
                    <a:pt x="512" y="23"/>
                  </a:cubicBezTo>
                  <a:cubicBezTo>
                    <a:pt x="512" y="21"/>
                    <a:pt x="512" y="21"/>
                    <a:pt x="512" y="21"/>
                  </a:cubicBezTo>
                  <a:cubicBezTo>
                    <a:pt x="514" y="21"/>
                    <a:pt x="517" y="21"/>
                    <a:pt x="519" y="21"/>
                  </a:cubicBezTo>
                  <a:cubicBezTo>
                    <a:pt x="522" y="21"/>
                    <a:pt x="523" y="21"/>
                    <a:pt x="526" y="21"/>
                  </a:cubicBezTo>
                  <a:lnTo>
                    <a:pt x="526" y="23"/>
                  </a:lnTo>
                  <a:close/>
                  <a:moveTo>
                    <a:pt x="540" y="24"/>
                  </a:moveTo>
                  <a:cubicBezTo>
                    <a:pt x="540" y="24"/>
                    <a:pt x="540" y="24"/>
                    <a:pt x="540" y="24"/>
                  </a:cubicBezTo>
                  <a:cubicBezTo>
                    <a:pt x="548" y="25"/>
                    <a:pt x="546" y="35"/>
                    <a:pt x="549" y="35"/>
                  </a:cubicBezTo>
                  <a:cubicBezTo>
                    <a:pt x="549" y="35"/>
                    <a:pt x="550" y="34"/>
                    <a:pt x="550" y="34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0" y="36"/>
                    <a:pt x="549" y="37"/>
                    <a:pt x="547" y="37"/>
                  </a:cubicBezTo>
                  <a:cubicBezTo>
                    <a:pt x="543" y="37"/>
                    <a:pt x="543" y="34"/>
                    <a:pt x="542" y="30"/>
                  </a:cubicBezTo>
                  <a:cubicBezTo>
                    <a:pt x="541" y="27"/>
                    <a:pt x="540" y="25"/>
                    <a:pt x="537" y="25"/>
                  </a:cubicBezTo>
                  <a:cubicBezTo>
                    <a:pt x="534" y="25"/>
                    <a:pt x="534" y="25"/>
                    <a:pt x="534" y="25"/>
                  </a:cubicBezTo>
                  <a:cubicBezTo>
                    <a:pt x="534" y="30"/>
                    <a:pt x="534" y="30"/>
                    <a:pt x="534" y="30"/>
                  </a:cubicBezTo>
                  <a:cubicBezTo>
                    <a:pt x="534" y="35"/>
                    <a:pt x="534" y="35"/>
                    <a:pt x="537" y="35"/>
                  </a:cubicBezTo>
                  <a:cubicBezTo>
                    <a:pt x="538" y="35"/>
                    <a:pt x="538" y="36"/>
                    <a:pt x="538" y="36"/>
                  </a:cubicBezTo>
                  <a:cubicBezTo>
                    <a:pt x="538" y="37"/>
                    <a:pt x="538" y="37"/>
                    <a:pt x="538" y="37"/>
                  </a:cubicBezTo>
                  <a:cubicBezTo>
                    <a:pt x="536" y="37"/>
                    <a:pt x="534" y="37"/>
                    <a:pt x="532" y="37"/>
                  </a:cubicBezTo>
                  <a:cubicBezTo>
                    <a:pt x="530" y="37"/>
                    <a:pt x="528" y="37"/>
                    <a:pt x="527" y="37"/>
                  </a:cubicBezTo>
                  <a:cubicBezTo>
                    <a:pt x="527" y="36"/>
                    <a:pt x="527" y="36"/>
                    <a:pt x="527" y="36"/>
                  </a:cubicBezTo>
                  <a:cubicBezTo>
                    <a:pt x="527" y="36"/>
                    <a:pt x="527" y="35"/>
                    <a:pt x="527" y="35"/>
                  </a:cubicBezTo>
                  <a:cubicBezTo>
                    <a:pt x="530" y="35"/>
                    <a:pt x="530" y="35"/>
                    <a:pt x="530" y="30"/>
                  </a:cubicBezTo>
                  <a:cubicBezTo>
                    <a:pt x="530" y="19"/>
                    <a:pt x="530" y="19"/>
                    <a:pt x="530" y="19"/>
                  </a:cubicBezTo>
                  <a:cubicBezTo>
                    <a:pt x="530" y="14"/>
                    <a:pt x="530" y="14"/>
                    <a:pt x="527" y="14"/>
                  </a:cubicBezTo>
                  <a:cubicBezTo>
                    <a:pt x="527" y="14"/>
                    <a:pt x="527" y="14"/>
                    <a:pt x="527" y="13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8" y="12"/>
                    <a:pt x="530" y="12"/>
                    <a:pt x="532" y="12"/>
                  </a:cubicBezTo>
                  <a:cubicBezTo>
                    <a:pt x="534" y="12"/>
                    <a:pt x="536" y="12"/>
                    <a:pt x="538" y="12"/>
                  </a:cubicBezTo>
                  <a:cubicBezTo>
                    <a:pt x="543" y="12"/>
                    <a:pt x="547" y="14"/>
                    <a:pt x="547" y="18"/>
                  </a:cubicBezTo>
                  <a:cubicBezTo>
                    <a:pt x="547" y="21"/>
                    <a:pt x="546" y="23"/>
                    <a:pt x="540" y="24"/>
                  </a:cubicBezTo>
                  <a:close/>
                  <a:moveTo>
                    <a:pt x="538" y="14"/>
                  </a:moveTo>
                  <a:cubicBezTo>
                    <a:pt x="537" y="14"/>
                    <a:pt x="534" y="14"/>
                    <a:pt x="534" y="14"/>
                  </a:cubicBezTo>
                  <a:cubicBezTo>
                    <a:pt x="534" y="23"/>
                    <a:pt x="534" y="23"/>
                    <a:pt x="534" y="23"/>
                  </a:cubicBezTo>
                  <a:cubicBezTo>
                    <a:pt x="537" y="23"/>
                    <a:pt x="537" y="23"/>
                    <a:pt x="537" y="23"/>
                  </a:cubicBezTo>
                  <a:cubicBezTo>
                    <a:pt x="540" y="23"/>
                    <a:pt x="543" y="22"/>
                    <a:pt x="543" y="18"/>
                  </a:cubicBezTo>
                  <a:cubicBezTo>
                    <a:pt x="543" y="15"/>
                    <a:pt x="540" y="14"/>
                    <a:pt x="538" y="14"/>
                  </a:cubicBezTo>
                  <a:close/>
                  <a:moveTo>
                    <a:pt x="563" y="38"/>
                  </a:moveTo>
                  <a:cubicBezTo>
                    <a:pt x="556" y="38"/>
                    <a:pt x="551" y="33"/>
                    <a:pt x="551" y="25"/>
                  </a:cubicBezTo>
                  <a:cubicBezTo>
                    <a:pt x="551" y="16"/>
                    <a:pt x="557" y="11"/>
                    <a:pt x="563" y="11"/>
                  </a:cubicBezTo>
                  <a:cubicBezTo>
                    <a:pt x="570" y="11"/>
                    <a:pt x="575" y="16"/>
                    <a:pt x="575" y="24"/>
                  </a:cubicBezTo>
                  <a:cubicBezTo>
                    <a:pt x="575" y="33"/>
                    <a:pt x="570" y="38"/>
                    <a:pt x="563" y="38"/>
                  </a:cubicBezTo>
                  <a:close/>
                  <a:moveTo>
                    <a:pt x="563" y="14"/>
                  </a:moveTo>
                  <a:cubicBezTo>
                    <a:pt x="558" y="14"/>
                    <a:pt x="556" y="17"/>
                    <a:pt x="556" y="25"/>
                  </a:cubicBezTo>
                  <a:cubicBezTo>
                    <a:pt x="556" y="32"/>
                    <a:pt x="559" y="36"/>
                    <a:pt x="563" y="36"/>
                  </a:cubicBezTo>
                  <a:cubicBezTo>
                    <a:pt x="568" y="36"/>
                    <a:pt x="570" y="32"/>
                    <a:pt x="570" y="24"/>
                  </a:cubicBezTo>
                  <a:cubicBezTo>
                    <a:pt x="570" y="17"/>
                    <a:pt x="567" y="14"/>
                    <a:pt x="563" y="14"/>
                  </a:cubicBezTo>
                  <a:close/>
                  <a:moveTo>
                    <a:pt x="590" y="38"/>
                  </a:moveTo>
                  <a:cubicBezTo>
                    <a:pt x="583" y="38"/>
                    <a:pt x="580" y="35"/>
                    <a:pt x="580" y="28"/>
                  </a:cubicBezTo>
                  <a:cubicBezTo>
                    <a:pt x="580" y="19"/>
                    <a:pt x="580" y="19"/>
                    <a:pt x="580" y="19"/>
                  </a:cubicBezTo>
                  <a:cubicBezTo>
                    <a:pt x="580" y="14"/>
                    <a:pt x="580" y="14"/>
                    <a:pt x="577" y="14"/>
                  </a:cubicBezTo>
                  <a:cubicBezTo>
                    <a:pt x="576" y="14"/>
                    <a:pt x="576" y="14"/>
                    <a:pt x="576" y="13"/>
                  </a:cubicBezTo>
                  <a:cubicBezTo>
                    <a:pt x="576" y="12"/>
                    <a:pt x="576" y="12"/>
                    <a:pt x="576" y="12"/>
                  </a:cubicBezTo>
                  <a:cubicBezTo>
                    <a:pt x="578" y="12"/>
                    <a:pt x="580" y="12"/>
                    <a:pt x="582" y="12"/>
                  </a:cubicBezTo>
                  <a:cubicBezTo>
                    <a:pt x="584" y="12"/>
                    <a:pt x="586" y="12"/>
                    <a:pt x="587" y="12"/>
                  </a:cubicBezTo>
                  <a:cubicBezTo>
                    <a:pt x="587" y="13"/>
                    <a:pt x="587" y="13"/>
                    <a:pt x="587" y="13"/>
                  </a:cubicBezTo>
                  <a:cubicBezTo>
                    <a:pt x="587" y="14"/>
                    <a:pt x="587" y="14"/>
                    <a:pt x="587" y="14"/>
                  </a:cubicBezTo>
                  <a:cubicBezTo>
                    <a:pt x="584" y="14"/>
                    <a:pt x="584" y="14"/>
                    <a:pt x="584" y="19"/>
                  </a:cubicBezTo>
                  <a:cubicBezTo>
                    <a:pt x="584" y="29"/>
                    <a:pt x="584" y="29"/>
                    <a:pt x="584" y="29"/>
                  </a:cubicBezTo>
                  <a:cubicBezTo>
                    <a:pt x="584" y="33"/>
                    <a:pt x="586" y="35"/>
                    <a:pt x="590" y="35"/>
                  </a:cubicBezTo>
                  <a:cubicBezTo>
                    <a:pt x="595" y="35"/>
                    <a:pt x="597" y="33"/>
                    <a:pt x="597" y="28"/>
                  </a:cubicBezTo>
                  <a:cubicBezTo>
                    <a:pt x="597" y="22"/>
                    <a:pt x="597" y="22"/>
                    <a:pt x="597" y="22"/>
                  </a:cubicBezTo>
                  <a:cubicBezTo>
                    <a:pt x="597" y="15"/>
                    <a:pt x="597" y="14"/>
                    <a:pt x="592" y="14"/>
                  </a:cubicBezTo>
                  <a:cubicBezTo>
                    <a:pt x="592" y="14"/>
                    <a:pt x="592" y="14"/>
                    <a:pt x="592" y="13"/>
                  </a:cubicBezTo>
                  <a:cubicBezTo>
                    <a:pt x="592" y="12"/>
                    <a:pt x="592" y="12"/>
                    <a:pt x="592" y="12"/>
                  </a:cubicBezTo>
                  <a:cubicBezTo>
                    <a:pt x="594" y="12"/>
                    <a:pt x="596" y="12"/>
                    <a:pt x="598" y="12"/>
                  </a:cubicBezTo>
                  <a:cubicBezTo>
                    <a:pt x="600" y="12"/>
                    <a:pt x="601" y="12"/>
                    <a:pt x="602" y="12"/>
                  </a:cubicBezTo>
                  <a:cubicBezTo>
                    <a:pt x="602" y="13"/>
                    <a:pt x="602" y="13"/>
                    <a:pt x="602" y="13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9" y="14"/>
                    <a:pt x="599" y="15"/>
                    <a:pt x="599" y="22"/>
                  </a:cubicBezTo>
                  <a:cubicBezTo>
                    <a:pt x="599" y="28"/>
                    <a:pt x="599" y="28"/>
                    <a:pt x="599" y="28"/>
                  </a:cubicBezTo>
                  <a:cubicBezTo>
                    <a:pt x="599" y="35"/>
                    <a:pt x="596" y="38"/>
                    <a:pt x="590" y="38"/>
                  </a:cubicBezTo>
                  <a:close/>
                  <a:moveTo>
                    <a:pt x="614" y="27"/>
                  </a:moveTo>
                  <a:cubicBezTo>
                    <a:pt x="612" y="27"/>
                    <a:pt x="612" y="27"/>
                    <a:pt x="612" y="27"/>
                  </a:cubicBezTo>
                  <a:cubicBezTo>
                    <a:pt x="612" y="30"/>
                    <a:pt x="612" y="30"/>
                    <a:pt x="612" y="30"/>
                  </a:cubicBezTo>
                  <a:cubicBezTo>
                    <a:pt x="612" y="35"/>
                    <a:pt x="612" y="35"/>
                    <a:pt x="615" y="35"/>
                  </a:cubicBezTo>
                  <a:cubicBezTo>
                    <a:pt x="616" y="35"/>
                    <a:pt x="616" y="36"/>
                    <a:pt x="616" y="36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14" y="37"/>
                    <a:pt x="611" y="37"/>
                    <a:pt x="610" y="37"/>
                  </a:cubicBezTo>
                  <a:cubicBezTo>
                    <a:pt x="608" y="37"/>
                    <a:pt x="606" y="37"/>
                    <a:pt x="604" y="37"/>
                  </a:cubicBezTo>
                  <a:cubicBezTo>
                    <a:pt x="604" y="36"/>
                    <a:pt x="604" y="36"/>
                    <a:pt x="604" y="36"/>
                  </a:cubicBezTo>
                  <a:cubicBezTo>
                    <a:pt x="604" y="36"/>
                    <a:pt x="604" y="35"/>
                    <a:pt x="604" y="35"/>
                  </a:cubicBezTo>
                  <a:cubicBezTo>
                    <a:pt x="607" y="35"/>
                    <a:pt x="607" y="35"/>
                    <a:pt x="607" y="30"/>
                  </a:cubicBezTo>
                  <a:cubicBezTo>
                    <a:pt x="607" y="19"/>
                    <a:pt x="607" y="19"/>
                    <a:pt x="607" y="19"/>
                  </a:cubicBezTo>
                  <a:cubicBezTo>
                    <a:pt x="607" y="14"/>
                    <a:pt x="607" y="14"/>
                    <a:pt x="604" y="14"/>
                  </a:cubicBezTo>
                  <a:cubicBezTo>
                    <a:pt x="604" y="14"/>
                    <a:pt x="604" y="14"/>
                    <a:pt x="604" y="13"/>
                  </a:cubicBezTo>
                  <a:cubicBezTo>
                    <a:pt x="604" y="12"/>
                    <a:pt x="604" y="12"/>
                    <a:pt x="604" y="12"/>
                  </a:cubicBezTo>
                  <a:cubicBezTo>
                    <a:pt x="606" y="12"/>
                    <a:pt x="608" y="12"/>
                    <a:pt x="610" y="12"/>
                  </a:cubicBezTo>
                  <a:cubicBezTo>
                    <a:pt x="611" y="12"/>
                    <a:pt x="613" y="12"/>
                    <a:pt x="614" y="12"/>
                  </a:cubicBezTo>
                  <a:cubicBezTo>
                    <a:pt x="619" y="12"/>
                    <a:pt x="625" y="13"/>
                    <a:pt x="625" y="19"/>
                  </a:cubicBezTo>
                  <a:cubicBezTo>
                    <a:pt x="625" y="22"/>
                    <a:pt x="623" y="27"/>
                    <a:pt x="614" y="27"/>
                  </a:cubicBezTo>
                  <a:close/>
                  <a:moveTo>
                    <a:pt x="615" y="14"/>
                  </a:moveTo>
                  <a:cubicBezTo>
                    <a:pt x="614" y="14"/>
                    <a:pt x="612" y="14"/>
                    <a:pt x="612" y="14"/>
                  </a:cubicBezTo>
                  <a:cubicBezTo>
                    <a:pt x="612" y="25"/>
                    <a:pt x="612" y="25"/>
                    <a:pt x="612" y="25"/>
                  </a:cubicBezTo>
                  <a:cubicBezTo>
                    <a:pt x="614" y="25"/>
                    <a:pt x="614" y="25"/>
                    <a:pt x="614" y="25"/>
                  </a:cubicBezTo>
                  <a:cubicBezTo>
                    <a:pt x="618" y="25"/>
                    <a:pt x="620" y="23"/>
                    <a:pt x="620" y="19"/>
                  </a:cubicBezTo>
                  <a:cubicBezTo>
                    <a:pt x="620" y="16"/>
                    <a:pt x="618" y="14"/>
                    <a:pt x="61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351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8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 baseline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5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51" baseline="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23262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9627109" y="172212"/>
            <a:ext cx="2318004" cy="55168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377"/>
            <a:endParaRPr sz="1351">
              <a:solidFill>
                <a:srgbClr val="000000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30002" y="622802"/>
            <a:ext cx="10933351" cy="353175"/>
          </a:xfrm>
        </p:spPr>
        <p:txBody>
          <a:bodyPr lIns="0" tIns="0" rIns="0" bIns="0"/>
          <a:lstStyle>
            <a:lvl1pPr>
              <a:defRPr sz="2551" b="0" i="0">
                <a:solidFill>
                  <a:srgbClr val="00529B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4/1/20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460735" y="6419419"/>
            <a:ext cx="114935" cy="152400"/>
          </a:xfrm>
          <a:prstGeom prst="rect">
            <a:avLst/>
          </a:prstGeom>
        </p:spPr>
        <p:txBody>
          <a:bodyPr lIns="0" tIns="0" rIns="0" bIns="0"/>
          <a:lstStyle>
            <a:lvl1pPr>
              <a:defRPr sz="751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9050" defTabSz="914377">
              <a:lnSpc>
                <a:spcPts val="784"/>
              </a:lnSpc>
            </a:pPr>
            <a:fld id="{81D60167-4931-47E6-BA6A-407CBD079E47}" type="slidenum">
              <a:rPr lang="en-US" spc="-4" smtClean="0"/>
              <a:pPr marL="19050" defTabSz="914377">
                <a:lnSpc>
                  <a:spcPts val="784"/>
                </a:lnSpc>
              </a:pPr>
              <a:t>‹#›</a:t>
            </a:fld>
            <a:endParaRPr lang="en-US" spc="-4"/>
          </a:p>
        </p:txBody>
      </p:sp>
    </p:spTree>
    <p:extLst>
      <p:ext uri="{BB962C8B-B14F-4D97-AF65-F5344CB8AC3E}">
        <p14:creationId xmlns:p14="http://schemas.microsoft.com/office/powerpoint/2010/main" val="352006048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4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41" y="1828884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1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221939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34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7696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08042" y="520700"/>
            <a:ext cx="108712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431589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562684"/>
            <a:ext cx="10769600" cy="587375"/>
          </a:xfrm>
          <a:prstGeom prst="rect">
            <a:avLst/>
          </a:prstGeom>
        </p:spPr>
        <p:txBody>
          <a:bodyPr anchor="t"/>
          <a:lstStyle>
            <a:lvl1pPr algn="l">
              <a:defRPr sz="4000" b="0" cap="none" baseline="0"/>
            </a:lvl1pPr>
          </a:lstStyle>
          <a:p>
            <a:r>
              <a:rPr lang="en-US" alt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914483"/>
            <a:ext cx="10769600" cy="4571999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634461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34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0800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2800" y="1600200"/>
            <a:ext cx="50800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08042" y="520700"/>
            <a:ext cx="108712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901987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4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08042" y="520700"/>
            <a:ext cx="108712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248330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4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31247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883645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4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629400" y="6283811"/>
            <a:ext cx="871069" cy="20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117310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"/>
            <a:ext cx="10972801" cy="13250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9987282" y="5852160"/>
            <a:ext cx="1910080" cy="843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23522" y="6339840"/>
            <a:ext cx="518160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59354918"/>
      </p:ext>
    </p:extLst>
  </p:cSld>
  <p:clrMapOvr>
    <a:masterClrMapping/>
  </p:clrMapOvr>
  <p:hf hdr="0" ftr="0" dt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57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8705"/>
            <a:ext cx="10515600" cy="47582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4/1/2020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12192000" cy="13019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9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10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95805"/>
            <a:ext cx="10515600" cy="743604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846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81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4/1/2020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13019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8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9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1530"/>
            <a:ext cx="10515600" cy="743239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229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05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4/1/2020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214660" y="6356351"/>
            <a:ext cx="2743200" cy="365125"/>
          </a:xfrm>
        </p:spPr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8297" y="6444747"/>
            <a:ext cx="797799" cy="1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3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6457"/>
            <a:ext cx="10515600" cy="82746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4/1/2020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7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8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8294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ltGray"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 bwMode="ltGray">
          <a:xfrm>
            <a:off x="0" y="4931309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67513" y="577079"/>
            <a:ext cx="90088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 b="1">
                <a:solidFill>
                  <a:srgbClr val="80808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67516" y="737569"/>
            <a:ext cx="2638543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Last Modified 11/17/2017 9:49 PM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67513" y="863181"/>
            <a:ext cx="2350002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Printed 11/17/2017 1:49 PM Pacific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67515" y="2776794"/>
            <a:ext cx="11256973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67515" y="3890592"/>
            <a:ext cx="11256973" cy="29007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67515" y="4593246"/>
            <a:ext cx="1125697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1428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pic>
        <p:nvPicPr>
          <p:cNvPr id="11" name="Picture 10" descr="colorStJo&amp;ProvLogo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3554" y="469511"/>
            <a:ext cx="2228908" cy="583231"/>
          </a:xfrm>
          <a:prstGeom prst="rect">
            <a:avLst/>
          </a:prstGeom>
        </p:spPr>
      </p:pic>
      <p:sp>
        <p:nvSpPr>
          <p:cNvPr id="12" name="doc id" hidden="1"/>
          <p:cNvSpPr>
            <a:spLocks noChangeArrowheads="1"/>
          </p:cNvSpPr>
          <p:nvPr/>
        </p:nvSpPr>
        <p:spPr bwMode="auto">
          <a:xfrm>
            <a:off x="11557993" y="51835"/>
            <a:ext cx="40075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50"/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</p:spTree>
    <p:extLst>
      <p:ext uri="{BB962C8B-B14F-4D97-AF65-F5344CB8AC3E}">
        <p14:creationId xmlns:p14="http://schemas.microsoft.com/office/powerpoint/2010/main" val="50750339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4" y="1453562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 dirty="0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1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subhead style, 20pt reg, Georgia</a:t>
            </a:r>
          </a:p>
        </p:txBody>
      </p:sp>
      <p:pic>
        <p:nvPicPr>
          <p:cNvPr id="5" name="Picture 4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4" y="469511"/>
            <a:ext cx="2228908" cy="583231"/>
          </a:xfrm>
          <a:prstGeom prst="rect">
            <a:avLst/>
          </a:prstGeom>
        </p:spPr>
      </p:pic>
      <p:sp>
        <p:nvSpPr>
          <p:cNvPr id="6" name="object 3"/>
          <p:cNvSpPr txBox="1">
            <a:spLocks noGrp="1"/>
          </p:cNvSpPr>
          <p:nvPr>
            <p:ph type="ftr" sz="quarter" idx="5"/>
          </p:nvPr>
        </p:nvSpPr>
        <p:spPr>
          <a:xfrm>
            <a:off x="3492126" y="6536418"/>
            <a:ext cx="4872567" cy="166777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>
            <a:lvl1pPr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16933">
              <a:spcBef>
                <a:spcPts val="27"/>
              </a:spcBef>
            </a:pP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Providence St. Joseph Health </a:t>
            </a:r>
            <a:r>
              <a:rPr lang="en-US">
                <a:solidFill>
                  <a:srgbClr val="FFFFFF">
                    <a:lumMod val="65000"/>
                  </a:srgbClr>
                </a:solidFill>
              </a:rPr>
              <a:t>– </a:t>
            </a:r>
            <a:r>
              <a:rPr lang="en-US" spc="-13">
                <a:solidFill>
                  <a:srgbClr val="FFFFFF">
                    <a:lumMod val="65000"/>
                  </a:srgbClr>
                </a:solidFill>
              </a:rPr>
              <a:t>Company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Confidential </a:t>
            </a:r>
            <a:r>
              <a:rPr lang="en-US">
                <a:solidFill>
                  <a:srgbClr val="FFFFFF">
                    <a:lumMod val="65000"/>
                  </a:srgbClr>
                </a:solidFill>
              </a:rPr>
              <a:t>–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Not for</a:t>
            </a:r>
            <a:r>
              <a:rPr lang="en-US" spc="233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Distribution</a:t>
            </a:r>
            <a:endParaRPr lang="en-US" spc="-7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525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55271"/>
            <a:ext cx="10972800" cy="4191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600" y="533401"/>
            <a:ext cx="10972800" cy="470898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629400" y="6283811"/>
            <a:ext cx="871069" cy="20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61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866137" y="375816"/>
            <a:ext cx="1631149" cy="38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0150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6"/>
            <a:ext cx="10972800" cy="1311027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/>
              <a:t>Title slide style, 3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279383"/>
          </a:xfrm>
        </p:spPr>
        <p:txBody>
          <a:bodyPr lIns="0"/>
          <a:lstStyle>
            <a:lvl1pPr indent="-219445">
              <a:defRPr sz="2667"/>
            </a:lvl1pPr>
            <a:lvl2pPr indent="-219445">
              <a:defRPr sz="2400"/>
            </a:lvl2pPr>
            <a:lvl3pPr indent="-195062">
              <a:defRPr sz="2133"/>
            </a:lvl3pPr>
            <a:lvl4pPr indent="-170680">
              <a:defRPr sz="1867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Picture 5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866137" y="375816"/>
            <a:ext cx="1631149" cy="38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6898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609601"/>
            <a:ext cx="8676222" cy="3200400"/>
          </a:xfrm>
        </p:spPr>
        <p:txBody>
          <a:bodyPr anchor="b">
            <a:normAutofit/>
          </a:bodyPr>
          <a:lstStyle>
            <a:lvl1pPr algn="ctr">
              <a:defRPr sz="48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76222" cy="1905000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lumMod val="75000"/>
                  </a:prstClr>
                </a:solidFill>
              </a:rPr>
              <a:pPr/>
              <a:t>4/1/2020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1412" y="5883275"/>
            <a:ext cx="7543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14012" y="5883275"/>
            <a:ext cx="551167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3067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bg1"/>
                </a:solidFill>
              </a:defRPr>
            </a:lvl1pPr>
            <a:lvl2pPr marL="0" indent="0" algn="l">
              <a:buNone/>
              <a:defRPr sz="1200" b="0">
                <a:solidFill>
                  <a:schemeClr val="bg1"/>
                </a:solidFill>
              </a:defRPr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67333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350" b="1">
                <a:solidFill>
                  <a:schemeClr val="tx1"/>
                </a:solidFill>
              </a:defRPr>
            </a:lvl1pPr>
            <a:lvl2pPr marL="0" indent="0" algn="l">
              <a:buNone/>
              <a:defRPr sz="1200" b="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3491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49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3645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gray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712" y="6163545"/>
            <a:ext cx="1667739" cy="43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6370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18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940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7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28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90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92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62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02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0559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515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562274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9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2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0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717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95250" indent="-9525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095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323850" indent="-9525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438150" indent="-9525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601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4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835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3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016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2000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823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90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2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038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60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57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5764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69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2600747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6" y="1654030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5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65290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27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8" y="1626101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7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960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3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397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95250" indent="-9525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96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5" y="1700215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4"/>
            <a:ext cx="3636963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3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5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396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64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1106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3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3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000"/>
              </a:spcAft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7" y="4249685"/>
            <a:ext cx="1274916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11"/>
            <a:ext cx="124416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812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1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7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1" y="1851441"/>
            <a:ext cx="3627439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7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819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8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49017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952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095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3238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438150" indent="-9525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9" y="6477003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628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8"/>
            <a:ext cx="5537731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853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09862F3-621F-4AA3-9BEE-3887D0FCA730}"/>
              </a:ext>
            </a:extLst>
          </p:cNvPr>
          <p:cNvSpPr/>
          <p:nvPr userDrawn="1"/>
        </p:nvSpPr>
        <p:spPr bwMode="gray">
          <a:xfrm>
            <a:off x="469900" y="918168"/>
            <a:ext cx="11216640" cy="18288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xmlns="" id="{A530DF65-A6E0-49B0-AC1D-3987CD34E3F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899" y="1317430"/>
            <a:ext cx="10850879" cy="46653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489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92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5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00" y="6478517"/>
            <a:ext cx="1325245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488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9525"/>
            <a:endParaRPr lang="en-US" spc="-4">
              <a:solidFill>
                <a:prstClr val="black"/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488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R="124301" algn="r"/>
            <a:fld id="{81D60167-4931-47E6-BA6A-407CBD079E47}" type="slidenum">
              <a:rPr lang="en-US" spc="-4" smtClean="0">
                <a:solidFill>
                  <a:prstClr val="black"/>
                </a:solidFill>
              </a:rPr>
              <a:pPr marR="124301" algn="r"/>
              <a:t>‹#›</a:t>
            </a:fld>
            <a:endParaRPr lang="en-US" spc="-4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>
            <a:stCxn id="2" idx="1"/>
            <a:endCxn id="2" idx="3"/>
          </p:cNvCxnSpPr>
          <p:nvPr userDrawn="1"/>
        </p:nvCxnSpPr>
        <p:spPr>
          <a:xfrm>
            <a:off x="469900" y="748663"/>
            <a:ext cx="11252200" cy="0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44001" y="155678"/>
            <a:ext cx="2690601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59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7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9" y="4211955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7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25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Holder 6">
            <a:extLst>
              <a:ext uri="{FF2B5EF4-FFF2-40B4-BE49-F238E27FC236}">
                <a16:creationId xmlns:a16="http://schemas.microsoft.com/office/drawing/2014/main" xmlns="" id="{A47A843B-987F-4EEB-A119-849488A66F2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9372601" y="6344874"/>
            <a:ext cx="2362201" cy="750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8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R="124301" algn="r"/>
            <a:fld id="{81D60167-4931-47E6-BA6A-407CBD079E47}" type="slidenum">
              <a:rPr lang="en-US" spc="-4" smtClean="0">
                <a:solidFill>
                  <a:prstClr val="black"/>
                </a:solidFill>
              </a:rPr>
              <a:pPr marR="124301" algn="r"/>
              <a:t>‹#›</a:t>
            </a:fld>
            <a:endParaRPr lang="en-US" spc="-4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15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4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1"/>
            <a:ext cx="9144000" cy="1655761"/>
          </a:xfrm>
        </p:spPr>
        <p:txBody>
          <a:bodyPr/>
          <a:lstStyle>
            <a:lvl1pPr marL="0" indent="0" algn="ctr">
              <a:buNone/>
              <a:defRPr sz="1799"/>
            </a:lvl1pPr>
            <a:lvl2pPr marL="342583" indent="0" algn="ctr">
              <a:buNone/>
              <a:defRPr sz="1499"/>
            </a:lvl2pPr>
            <a:lvl3pPr marL="685166" indent="0" algn="ctr">
              <a:buNone/>
              <a:defRPr sz="1349"/>
            </a:lvl3pPr>
            <a:lvl4pPr marL="1027748" indent="0" algn="ctr">
              <a:buNone/>
              <a:defRPr sz="1199"/>
            </a:lvl4pPr>
            <a:lvl5pPr marL="1370331" indent="0" algn="ctr">
              <a:buNone/>
              <a:defRPr sz="1199"/>
            </a:lvl5pPr>
            <a:lvl6pPr marL="1712914" indent="0" algn="ctr">
              <a:buNone/>
              <a:defRPr sz="1199"/>
            </a:lvl6pPr>
            <a:lvl7pPr marL="2055497" indent="0" algn="ctr">
              <a:buNone/>
              <a:defRPr sz="1199"/>
            </a:lvl7pPr>
            <a:lvl8pPr marL="2398080" indent="0" algn="ctr">
              <a:buNone/>
              <a:defRPr sz="1199"/>
            </a:lvl8pPr>
            <a:lvl9pPr marL="2740663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31668AD-B53B-FD44-8EFF-9F29A7A92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312E8-BEAE-A94A-B4A4-7AF22EF51D3E}" type="datetime1">
              <a:rPr lang="en-US">
                <a:solidFill>
                  <a:prstClr val="black"/>
                </a:solidFill>
              </a:rPr>
              <a:pPr>
                <a:defRPr/>
              </a:pPr>
              <a:t>4/1/20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2FF3207-50A5-B24C-9F71-DCB768E27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8F55B1B-D921-2840-9FF7-C2E13B613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37B873-8D22-B945-924B-BDD963F036E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3891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275981" y="397113"/>
            <a:ext cx="2318030" cy="552121"/>
          </a:xfrm>
          <a:prstGeom prst="rect">
            <a:avLst/>
          </a:prstGeom>
        </p:spPr>
      </p:pic>
      <p:sp>
        <p:nvSpPr>
          <p:cNvPr id="31" name="Rectangle 30"/>
          <p:cNvSpPr/>
          <p:nvPr userDrawn="1"/>
        </p:nvSpPr>
        <p:spPr>
          <a:xfrm>
            <a:off x="0" y="3118118"/>
            <a:ext cx="12192000" cy="17085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8972" y="3377396"/>
            <a:ext cx="7567747" cy="1294446"/>
          </a:xfrm>
        </p:spPr>
        <p:txBody>
          <a:bodyPr lIns="91440" tIns="45720" rIns="91440" bIns="45720" anchor="ctr" anchorCtr="0"/>
          <a:lstStyle>
            <a:lvl1pPr>
              <a:defRPr sz="30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Title in Title Case (Calibri Bold 30pt)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0" y="4826618"/>
            <a:ext cx="12192000" cy="189833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39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627735" y="172449"/>
            <a:ext cx="2318030" cy="55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88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/>
              <a:t>Are there any questions?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eded for closing.</a:t>
            </a:r>
          </a:p>
        </p:txBody>
      </p:sp>
    </p:spTree>
    <p:extLst>
      <p:ext uri="{BB962C8B-B14F-4D97-AF65-F5344CB8AC3E}">
        <p14:creationId xmlns:p14="http://schemas.microsoft.com/office/powerpoint/2010/main" val="13690655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41791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94555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2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76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56963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29725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54651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10050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4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03023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42328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79216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Title subhead style, 20pt reg, Georgia</a:t>
            </a:r>
          </a:p>
        </p:txBody>
      </p:sp>
      <p:pic>
        <p:nvPicPr>
          <p:cNvPr id="5" name="Picture 4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41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4217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47444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48600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61646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16397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6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03476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14134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09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14011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Option 2: Title slide style, 28pt reg Arial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8681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3314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402472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0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306688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gradFill rotWithShape="1">
          <a:gsLst>
            <a:gs pos="83000">
              <a:srgbClr val="429644"/>
            </a:gs>
            <a:gs pos="45000">
              <a:schemeClr val="bg1">
                <a:tint val="80000"/>
                <a:satMod val="300000"/>
              </a:schemeClr>
            </a:gs>
            <a:gs pos="100000">
              <a:srgbClr val="00539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6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Image result for provide st. joseph health logo"/>
          <p:cNvPicPr>
            <a:picLocks noChangeAspect="1" noChangeArrowheads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902"/>
          <a:stretch/>
        </p:blipFill>
        <p:spPr bwMode="auto">
          <a:xfrm>
            <a:off x="2308175" y="2526794"/>
            <a:ext cx="1767880" cy="18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7F71F47-8C20-EA47-ACE4-64FFAC499E9F}"/>
              </a:ext>
            </a:extLst>
          </p:cNvPr>
          <p:cNvSpPr txBox="1"/>
          <p:nvPr userDrawn="1"/>
        </p:nvSpPr>
        <p:spPr>
          <a:xfrm>
            <a:off x="3192115" y="2627247"/>
            <a:ext cx="7625165" cy="160350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200" b="1">
                <a:solidFill>
                  <a:srgbClr val="00294D">
                    <a:lumMod val="75000"/>
                    <a:lumOff val="25000"/>
                  </a:srgbClr>
                </a:solidFill>
                <a:latin typeface="Malayalam MN" panose="02020600050405020304" pitchFamily="18" charset="0"/>
                <a:cs typeface="Malayalam MN" panose="02020600050405020304" pitchFamily="18" charset="0"/>
              </a:rPr>
              <a:t>Health for a Better World</a:t>
            </a:r>
          </a:p>
        </p:txBody>
      </p:sp>
    </p:spTree>
    <p:extLst>
      <p:ext uri="{BB962C8B-B14F-4D97-AF65-F5344CB8AC3E}">
        <p14:creationId xmlns:p14="http://schemas.microsoft.com/office/powerpoint/2010/main" val="3095861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1. </a:t>
              </a:r>
              <a:r>
                <a:rPr lang="en-US" sz="1000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2. </a:t>
              </a:r>
              <a:r>
                <a:rPr lang="en-US" sz="1000" err="1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xxxx</a:t>
              </a: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cs typeface="Calibri" panose="020F0502020204030204" pitchFamily="34" charset="0"/>
                  <a:sym typeface="Calibri" panose="020F050202020403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24710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lorStJo&amp;ProvLog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71" t="13723" r="10120" b="12901"/>
          <a:stretch>
            <a:fillRect/>
          </a:stretch>
        </p:blipFill>
        <p:spPr>
          <a:xfrm>
            <a:off x="9275981" y="397113"/>
            <a:ext cx="2318030" cy="55212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3170369"/>
            <a:ext cx="12192000" cy="17085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8972" y="3377396"/>
            <a:ext cx="7567747" cy="1294446"/>
          </a:xfrm>
        </p:spPr>
        <p:txBody>
          <a:bodyPr lIns="91440" tIns="45720" rIns="91440" bIns="45720" anchor="ctr" anchorCtr="0"/>
          <a:lstStyle>
            <a:lvl1pPr>
              <a:defRPr sz="30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Title in Title Case (Calibri Bold 30pt)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4878869"/>
            <a:ext cx="12192000" cy="189833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78974" y="5740905"/>
            <a:ext cx="3378923" cy="372398"/>
          </a:xfrm>
        </p:spPr>
        <p:txBody>
          <a:bodyPr lIns="45720" tIns="45720" rIns="45720" bIns="45720" anchor="ctr" anchorCtr="0"/>
          <a:lstStyle>
            <a:lvl1pPr>
              <a:defRPr sz="2000" b="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 (Calibri 20pt)</a:t>
            </a:r>
          </a:p>
        </p:txBody>
      </p:sp>
    </p:spTree>
    <p:extLst>
      <p:ext uri="{BB962C8B-B14F-4D97-AF65-F5344CB8AC3E}">
        <p14:creationId xmlns:p14="http://schemas.microsoft.com/office/powerpoint/2010/main" val="149514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9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119314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93873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20180425 Endurance Day 2 v11_cs.pptx</a:t>
            </a:r>
          </a:p>
        </p:txBody>
      </p:sp>
    </p:spTree>
    <p:extLst>
      <p:ext uri="{BB962C8B-B14F-4D97-AF65-F5344CB8AC3E}">
        <p14:creationId xmlns:p14="http://schemas.microsoft.com/office/powerpoint/2010/main" val="263991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7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45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65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theme" Target="../theme/theme4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image" Target="../media/image9.emf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41" Type="http://schemas.openxmlformats.org/officeDocument/2006/relationships/slideLayout" Target="../slideLayouts/slideLayout67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oleObject" Target="../embeddings/oleObject9.bin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tags" Target="../tags/tag13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vmlDrawing" Target="../drawings/vmlDrawing9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9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88.xml"/><Relationship Id="rId34" Type="http://schemas.openxmlformats.org/officeDocument/2006/relationships/slideLayout" Target="../slideLayouts/slideLayout101.xml"/><Relationship Id="rId42" Type="http://schemas.openxmlformats.org/officeDocument/2006/relationships/slideLayout" Target="../slideLayouts/slideLayout109.xml"/><Relationship Id="rId47" Type="http://schemas.openxmlformats.org/officeDocument/2006/relationships/slideLayout" Target="../slideLayouts/slideLayout114.xml"/><Relationship Id="rId50" Type="http://schemas.openxmlformats.org/officeDocument/2006/relationships/slideLayout" Target="../slideLayouts/slideLayout117.xml"/><Relationship Id="rId55" Type="http://schemas.openxmlformats.org/officeDocument/2006/relationships/slideLayout" Target="../slideLayouts/slideLayout122.xml"/><Relationship Id="rId63" Type="http://schemas.openxmlformats.org/officeDocument/2006/relationships/slideLayout" Target="../slideLayouts/slideLayout130.xml"/><Relationship Id="rId68" Type="http://schemas.openxmlformats.org/officeDocument/2006/relationships/vmlDrawing" Target="../drawings/vmlDrawing10.vml"/><Relationship Id="rId7" Type="http://schemas.openxmlformats.org/officeDocument/2006/relationships/slideLayout" Target="../slideLayouts/slideLayout74.xml"/><Relationship Id="rId71" Type="http://schemas.openxmlformats.org/officeDocument/2006/relationships/image" Target="../media/image4.emf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37" Type="http://schemas.openxmlformats.org/officeDocument/2006/relationships/slideLayout" Target="../slideLayouts/slideLayout104.xml"/><Relationship Id="rId40" Type="http://schemas.openxmlformats.org/officeDocument/2006/relationships/slideLayout" Target="../slideLayouts/slideLayout107.xml"/><Relationship Id="rId45" Type="http://schemas.openxmlformats.org/officeDocument/2006/relationships/slideLayout" Target="../slideLayouts/slideLayout112.xml"/><Relationship Id="rId53" Type="http://schemas.openxmlformats.org/officeDocument/2006/relationships/slideLayout" Target="../slideLayouts/slideLayout120.xml"/><Relationship Id="rId58" Type="http://schemas.openxmlformats.org/officeDocument/2006/relationships/slideLayout" Target="../slideLayouts/slideLayout125.xml"/><Relationship Id="rId66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36" Type="http://schemas.openxmlformats.org/officeDocument/2006/relationships/slideLayout" Target="../slideLayouts/slideLayout103.xml"/><Relationship Id="rId49" Type="http://schemas.openxmlformats.org/officeDocument/2006/relationships/slideLayout" Target="../slideLayouts/slideLayout116.xml"/><Relationship Id="rId57" Type="http://schemas.openxmlformats.org/officeDocument/2006/relationships/slideLayout" Target="../slideLayouts/slideLayout124.xml"/><Relationship Id="rId61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4" Type="http://schemas.openxmlformats.org/officeDocument/2006/relationships/slideLayout" Target="../slideLayouts/slideLayout111.xml"/><Relationship Id="rId52" Type="http://schemas.openxmlformats.org/officeDocument/2006/relationships/slideLayout" Target="../slideLayouts/slideLayout119.xml"/><Relationship Id="rId60" Type="http://schemas.openxmlformats.org/officeDocument/2006/relationships/slideLayout" Target="../slideLayouts/slideLayout127.xml"/><Relationship Id="rId6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Relationship Id="rId35" Type="http://schemas.openxmlformats.org/officeDocument/2006/relationships/slideLayout" Target="../slideLayouts/slideLayout102.xml"/><Relationship Id="rId43" Type="http://schemas.openxmlformats.org/officeDocument/2006/relationships/slideLayout" Target="../slideLayouts/slideLayout110.xml"/><Relationship Id="rId48" Type="http://schemas.openxmlformats.org/officeDocument/2006/relationships/slideLayout" Target="../slideLayouts/slideLayout115.xml"/><Relationship Id="rId56" Type="http://schemas.openxmlformats.org/officeDocument/2006/relationships/slideLayout" Target="../slideLayouts/slideLayout123.xml"/><Relationship Id="rId64" Type="http://schemas.openxmlformats.org/officeDocument/2006/relationships/slideLayout" Target="../slideLayouts/slideLayout131.xml"/><Relationship Id="rId69" Type="http://schemas.openxmlformats.org/officeDocument/2006/relationships/tags" Target="../tags/tag14.xml"/><Relationship Id="rId8" Type="http://schemas.openxmlformats.org/officeDocument/2006/relationships/slideLayout" Target="../slideLayouts/slideLayout75.xml"/><Relationship Id="rId51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00.xml"/><Relationship Id="rId38" Type="http://schemas.openxmlformats.org/officeDocument/2006/relationships/slideLayout" Target="../slideLayouts/slideLayout105.xml"/><Relationship Id="rId46" Type="http://schemas.openxmlformats.org/officeDocument/2006/relationships/slideLayout" Target="../slideLayouts/slideLayout113.xml"/><Relationship Id="rId59" Type="http://schemas.openxmlformats.org/officeDocument/2006/relationships/slideLayout" Target="../slideLayouts/slideLayout126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121.xml"/><Relationship Id="rId62" Type="http://schemas.openxmlformats.org/officeDocument/2006/relationships/slideLayout" Target="../slideLayouts/slideLayout129.xml"/><Relationship Id="rId70" Type="http://schemas.openxmlformats.org/officeDocument/2006/relationships/oleObject" Target="../embeddings/oleObject10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180.xml"/><Relationship Id="rId42" Type="http://schemas.openxmlformats.org/officeDocument/2006/relationships/slideLayout" Target="../slideLayouts/slideLayout188.xml"/><Relationship Id="rId47" Type="http://schemas.openxmlformats.org/officeDocument/2006/relationships/slideLayout" Target="../slideLayouts/slideLayout193.xml"/><Relationship Id="rId50" Type="http://schemas.openxmlformats.org/officeDocument/2006/relationships/slideLayout" Target="../slideLayouts/slideLayout196.xml"/><Relationship Id="rId55" Type="http://schemas.openxmlformats.org/officeDocument/2006/relationships/slideLayout" Target="../slideLayouts/slideLayout201.xml"/><Relationship Id="rId63" Type="http://schemas.openxmlformats.org/officeDocument/2006/relationships/slideLayout" Target="../slideLayouts/slideLayout209.xml"/><Relationship Id="rId68" Type="http://schemas.openxmlformats.org/officeDocument/2006/relationships/theme" Target="../theme/theme7.xml"/><Relationship Id="rId7" Type="http://schemas.openxmlformats.org/officeDocument/2006/relationships/slideLayout" Target="../slideLayouts/slideLayout153.xml"/><Relationship Id="rId71" Type="http://schemas.openxmlformats.org/officeDocument/2006/relationships/oleObject" Target="../embeddings/oleObject77.bin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slideLayout" Target="../slideLayouts/slideLayout186.xml"/><Relationship Id="rId45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199.xml"/><Relationship Id="rId58" Type="http://schemas.openxmlformats.org/officeDocument/2006/relationships/slideLayout" Target="../slideLayouts/slideLayout204.xml"/><Relationship Id="rId66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49" Type="http://schemas.openxmlformats.org/officeDocument/2006/relationships/slideLayout" Target="../slideLayouts/slideLayout195.xml"/><Relationship Id="rId57" Type="http://schemas.openxmlformats.org/officeDocument/2006/relationships/slideLayout" Target="../slideLayouts/slideLayout203.xml"/><Relationship Id="rId6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90.xml"/><Relationship Id="rId52" Type="http://schemas.openxmlformats.org/officeDocument/2006/relationships/slideLayout" Target="../slideLayouts/slideLayout198.xml"/><Relationship Id="rId60" Type="http://schemas.openxmlformats.org/officeDocument/2006/relationships/slideLayout" Target="../slideLayouts/slideLayout206.xml"/><Relationship Id="rId65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43" Type="http://schemas.openxmlformats.org/officeDocument/2006/relationships/slideLayout" Target="../slideLayouts/slideLayout189.xml"/><Relationship Id="rId48" Type="http://schemas.openxmlformats.org/officeDocument/2006/relationships/slideLayout" Target="../slideLayouts/slideLayout194.xml"/><Relationship Id="rId56" Type="http://schemas.openxmlformats.org/officeDocument/2006/relationships/slideLayout" Target="../slideLayouts/slideLayout202.xml"/><Relationship Id="rId64" Type="http://schemas.openxmlformats.org/officeDocument/2006/relationships/slideLayout" Target="../slideLayouts/slideLayout210.xml"/><Relationship Id="rId69" Type="http://schemas.openxmlformats.org/officeDocument/2006/relationships/vmlDrawing" Target="../drawings/vmlDrawing77.vml"/><Relationship Id="rId8" Type="http://schemas.openxmlformats.org/officeDocument/2006/relationships/slideLayout" Target="../slideLayouts/slideLayout154.xml"/><Relationship Id="rId51" Type="http://schemas.openxmlformats.org/officeDocument/2006/relationships/slideLayout" Target="../slideLayouts/slideLayout197.xml"/><Relationship Id="rId72" Type="http://schemas.openxmlformats.org/officeDocument/2006/relationships/image" Target="../media/image4.emf"/><Relationship Id="rId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46" Type="http://schemas.openxmlformats.org/officeDocument/2006/relationships/slideLayout" Target="../slideLayouts/slideLayout192.xml"/><Relationship Id="rId59" Type="http://schemas.openxmlformats.org/officeDocument/2006/relationships/slideLayout" Target="../slideLayouts/slideLayout205.xml"/><Relationship Id="rId67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200.xml"/><Relationship Id="rId62" Type="http://schemas.openxmlformats.org/officeDocument/2006/relationships/slideLayout" Target="../slideLayouts/slideLayout208.xml"/><Relationship Id="rId70" Type="http://schemas.openxmlformats.org/officeDocument/2006/relationships/tags" Target="../tags/tag13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7.xml"/><Relationship Id="rId9" Type="http://schemas.openxmlformats.org/officeDocument/2006/relationships/image" Target="../media/image19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4.vml"/><Relationship Id="rId3" Type="http://schemas.openxmlformats.org/officeDocument/2006/relationships/slideLayout" Target="../slideLayouts/slideLayout223.xml"/><Relationship Id="rId7" Type="http://schemas.openxmlformats.org/officeDocument/2006/relationships/theme" Target="../theme/theme9.xml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25.xml"/><Relationship Id="rId10" Type="http://schemas.openxmlformats.org/officeDocument/2006/relationships/oleObject" Target="../embeddings/oleObject144.bin"/><Relationship Id="rId4" Type="http://schemas.openxmlformats.org/officeDocument/2006/relationships/slideLayout" Target="../slideLayouts/slideLayout224.xml"/><Relationship Id="rId9" Type="http://schemas.openxmlformats.org/officeDocument/2006/relationships/tags" Target="../tags/tag2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sz="16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650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609585" rtl="0" eaLnBrk="1" latinLnBrk="0" hangingPunct="1">
        <a:spcBef>
          <a:spcPct val="0"/>
        </a:spcBef>
        <a:buNone/>
        <a:defRPr sz="3200" b="0" kern="1200">
          <a:solidFill>
            <a:srgbClr val="00539B"/>
          </a:solidFill>
          <a:latin typeface="Gotham" panose="02000604040000020004" pitchFamily="2" charset="0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sz="16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13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</p:sldLayoutIdLst>
  <p:txStyles>
    <p:titleStyle>
      <a:lvl1pPr algn="l" defTabSz="609585" rtl="0" eaLnBrk="1" latinLnBrk="0" hangingPunct="1">
        <a:spcBef>
          <a:spcPct val="0"/>
        </a:spcBef>
        <a:buNone/>
        <a:defRPr sz="3200" b="0" kern="1200">
          <a:solidFill>
            <a:srgbClr val="00539B"/>
          </a:solidFill>
          <a:latin typeface="Gotham" panose="02000604040000020004" pitchFamily="2" charset="0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916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4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4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>
              <a:solidFill>
                <a:prstClr val="black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B3D3A99-2EE0-4609-9993-3B8B9506B08C}"/>
              </a:ext>
            </a:extLst>
          </p:cNvPr>
          <p:cNvSpPr/>
          <p:nvPr userDrawn="1"/>
        </p:nvSpPr>
        <p:spPr bwMode="gray">
          <a:xfrm>
            <a:off x="-10420" y="3055815"/>
            <a:ext cx="12212840" cy="380218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78000"/>
                </a:schemeClr>
              </a:gs>
              <a:gs pos="100000">
                <a:schemeClr val="bg1">
                  <a:lumMod val="95000"/>
                  <a:alpha val="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prstClr val="white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88052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2" r:id="rId4"/>
    <p:sldLayoutId id="2147484063" r:id="rId5"/>
    <p:sldLayoutId id="2147484064" r:id="rId6"/>
    <p:sldLayoutId id="2147484065" r:id="rId7"/>
    <p:sldLayoutId id="2147484066" r:id="rId8"/>
    <p:sldLayoutId id="2147484067" r:id="rId9"/>
    <p:sldLayoutId id="2147484068" r:id="rId10"/>
    <p:sldLayoutId id="2147484069" r:id="rId11"/>
    <p:sldLayoutId id="2147484070" r:id="rId12"/>
    <p:sldLayoutId id="2147484071" r:id="rId13"/>
    <p:sldLayoutId id="2147484072" r:id="rId14"/>
    <p:sldLayoutId id="2147484073" r:id="rId15"/>
    <p:sldLayoutId id="2147484074" r:id="rId16"/>
    <p:sldLayoutId id="2147484075" r:id="rId17"/>
    <p:sldLayoutId id="2147484076" r:id="rId18"/>
    <p:sldLayoutId id="2147484077" r:id="rId19"/>
    <p:sldLayoutId id="2147484078" r:id="rId20"/>
    <p:sldLayoutId id="2147484079" r:id="rId21"/>
    <p:sldLayoutId id="2147484080" r:id="rId22"/>
    <p:sldLayoutId id="2147484081" r:id="rId23"/>
    <p:sldLayoutId id="2147484082" r:id="rId24"/>
    <p:sldLayoutId id="2147484083" r:id="rId25"/>
    <p:sldLayoutId id="2147484084" r:id="rId26"/>
    <p:sldLayoutId id="2147484085" r:id="rId27"/>
    <p:sldLayoutId id="2147484086" r:id="rId28"/>
    <p:sldLayoutId id="2147484087" r:id="rId29"/>
    <p:sldLayoutId id="2147484088" r:id="rId30"/>
    <p:sldLayoutId id="2147484089" r:id="rId31"/>
    <p:sldLayoutId id="2147484090" r:id="rId32"/>
    <p:sldLayoutId id="2147484091" r:id="rId33"/>
    <p:sldLayoutId id="2147484092" r:id="rId34"/>
    <p:sldLayoutId id="2147484093" r:id="rId35"/>
    <p:sldLayoutId id="2147484094" r:id="rId36"/>
    <p:sldLayoutId id="2147484095" r:id="rId37"/>
    <p:sldLayoutId id="2147484096" r:id="rId38"/>
    <p:sldLayoutId id="2147484097" r:id="rId39"/>
    <p:sldLayoutId id="2147484098" r:id="rId40"/>
    <p:sldLayoutId id="2147484100" r:id="rId41"/>
  </p:sldLayoutIdLst>
  <mc:AlternateContent xmlns:mc="http://schemas.openxmlformats.org/markup-compatibility/2006" xmlns:p14="http://schemas.microsoft.com/office/powerpoint/2010/main">
    <mc:Choice Requires="p14">
      <p:transition spd="slow" p14:dur="2000">
        <p:wipe dir="r"/>
      </p:transition>
    </mc:Choice>
    <mc:Fallback xmlns="">
      <p:transition spd="slow">
        <p:wipe dir="r"/>
      </p:transition>
    </mc:Fallback>
  </mc:AlternateContent>
  <p:hf hdr="0" ftr="0" dt="0"/>
  <p:txStyles>
    <p:titleStyle>
      <a:lvl1pPr algn="l" defTabSz="914378" rtl="0" eaLnBrk="1" latinLnBrk="0" hangingPunct="1">
        <a:spcBef>
          <a:spcPct val="0"/>
        </a:spcBef>
        <a:buNone/>
        <a:defRPr sz="2800" kern="1200">
          <a:solidFill>
            <a:schemeClr val="accent3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600" b="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458788" indent="-346075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600" b="0" kern="1200" dirty="0" smtClean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801688" indent="-34290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>
          <a:tab pos="914400" algn="l"/>
        </a:tabLst>
        <a:defRPr lang="en-US" sz="1600" kern="1200" dirty="0" smtClean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257300" indent="-34290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600" kern="1200" baseline="0" dirty="0" smtClean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342900" indent="0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None/>
        <a:tabLst/>
        <a:defRPr lang="en-US" sz="1600" kern="1200" baseline="0" dirty="0" smtClean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2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22">
          <p15:clr>
            <a:srgbClr val="F26B43"/>
          </p15:clr>
        </p15:guide>
        <p15:guide id="5" pos="5538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3740">
          <p15:clr>
            <a:srgbClr val="F26B43"/>
          </p15:clr>
        </p15:guide>
        <p15:guide id="10" pos="1037">
          <p15:clr>
            <a:srgbClr val="F26B43"/>
          </p15:clr>
        </p15:guide>
        <p15:guide id="11" pos="1122">
          <p15:clr>
            <a:srgbClr val="F26B43"/>
          </p15:clr>
        </p15:guide>
        <p15:guide id="12" pos="1936">
          <p15:clr>
            <a:srgbClr val="F26B43"/>
          </p15:clr>
        </p15:guide>
        <p15:guide id="13" pos="2021">
          <p15:clr>
            <a:srgbClr val="F26B43"/>
          </p15:clr>
        </p15:guide>
        <p15:guide id="14" pos="4639">
          <p15:clr>
            <a:srgbClr val="F26B43"/>
          </p15:clr>
        </p15:guide>
        <p15:guide id="15" pos="2837">
          <p15:clr>
            <a:srgbClr val="F26B43"/>
          </p15:clr>
        </p15:guide>
        <p15:guide id="16" pos="2922">
          <p15:clr>
            <a:srgbClr val="F26B43"/>
          </p15:clr>
        </p15:guide>
        <p15:guide id="17" pos="2880">
          <p15:clr>
            <a:srgbClr val="F26B43"/>
          </p15:clr>
        </p15:guide>
        <p15:guide id="18" pos="4724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2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118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  <p:sldLayoutId id="2147484138" r:id="rId17"/>
    <p:sldLayoutId id="2147484139" r:id="rId18"/>
    <p:sldLayoutId id="2147484140" r:id="rId19"/>
    <p:sldLayoutId id="2147484141" r:id="rId20"/>
    <p:sldLayoutId id="2147484142" r:id="rId21"/>
    <p:sldLayoutId id="2147484143" r:id="rId22"/>
    <p:sldLayoutId id="2147484144" r:id="rId23"/>
    <p:sldLayoutId id="2147484145" r:id="rId24"/>
    <p:sldLayoutId id="2147484146" r:id="rId25"/>
    <p:sldLayoutId id="2147484147" r:id="rId26"/>
    <p:sldLayoutId id="2147484148" r:id="rId27"/>
    <p:sldLayoutId id="2147484149" r:id="rId28"/>
    <p:sldLayoutId id="2147484150" r:id="rId29"/>
    <p:sldLayoutId id="2147484151" r:id="rId30"/>
    <p:sldLayoutId id="2147484152" r:id="rId31"/>
    <p:sldLayoutId id="2147484153" r:id="rId32"/>
    <p:sldLayoutId id="2147484154" r:id="rId33"/>
    <p:sldLayoutId id="2147484155" r:id="rId34"/>
    <p:sldLayoutId id="2147484156" r:id="rId35"/>
    <p:sldLayoutId id="2147484157" r:id="rId36"/>
    <p:sldLayoutId id="2147484158" r:id="rId37"/>
    <p:sldLayoutId id="2147484159" r:id="rId38"/>
    <p:sldLayoutId id="2147484160" r:id="rId39"/>
    <p:sldLayoutId id="2147484161" r:id="rId40"/>
    <p:sldLayoutId id="2147484162" r:id="rId41"/>
    <p:sldLayoutId id="2147484163" r:id="rId42"/>
    <p:sldLayoutId id="2147484164" r:id="rId43"/>
    <p:sldLayoutId id="2147484165" r:id="rId44"/>
    <p:sldLayoutId id="2147484166" r:id="rId45"/>
    <p:sldLayoutId id="2147484167" r:id="rId46"/>
    <p:sldLayoutId id="2147484168" r:id="rId47"/>
    <p:sldLayoutId id="2147484169" r:id="rId48"/>
    <p:sldLayoutId id="2147484170" r:id="rId49"/>
    <p:sldLayoutId id="2147484171" r:id="rId50"/>
    <p:sldLayoutId id="2147484172" r:id="rId51"/>
    <p:sldLayoutId id="2147484173" r:id="rId52"/>
    <p:sldLayoutId id="2147484174" r:id="rId53"/>
    <p:sldLayoutId id="2147484175" r:id="rId54"/>
    <p:sldLayoutId id="2147484176" r:id="rId55"/>
    <p:sldLayoutId id="2147484177" r:id="rId56"/>
    <p:sldLayoutId id="2147484178" r:id="rId57"/>
    <p:sldLayoutId id="2147484179" r:id="rId58"/>
    <p:sldLayoutId id="2147484180" r:id="rId59"/>
    <p:sldLayoutId id="2147484181" r:id="rId60"/>
    <p:sldLayoutId id="2147484182" r:id="rId61"/>
    <p:sldLayoutId id="2147484183" r:id="rId62"/>
    <p:sldLayoutId id="2147484184" r:id="rId63"/>
    <p:sldLayoutId id="2147484185" r:id="rId64"/>
    <p:sldLayoutId id="2147484186" r:id="rId65"/>
    <p:sldLayoutId id="2147484187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0158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Header: Keep Font Size Consist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455578"/>
            <a:ext cx="10515600" cy="47213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All slide content should be minimum </a:t>
            </a:r>
            <a:r>
              <a:rPr lang="en-US" err="1"/>
              <a:t>sz</a:t>
            </a:r>
            <a:r>
              <a:rPr lang="en-US"/>
              <a:t>. 18 font</a:t>
            </a:r>
          </a:p>
          <a:p>
            <a:pPr lvl="1"/>
            <a:r>
              <a:rPr lang="en-US"/>
              <a:t>Bullet points should be short – no full sentences (unless quoting)</a:t>
            </a:r>
          </a:p>
          <a:p>
            <a:pPr lvl="2"/>
            <a:r>
              <a:rPr lang="en-US"/>
              <a:t>If slide too text heavy – make two slid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2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  <a:cs typeface="Arial" charset="0"/>
              </a:rPr>
              <a:t>Insert citations here as necessa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A50ADA-480C-4B80-8969-98FC6B0B367B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38201" y="1380932"/>
            <a:ext cx="1051560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38201" y="6176963"/>
            <a:ext cx="1051560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5223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4" r:id="rId3"/>
    <p:sldLayoutId id="2147484205" r:id="rId4"/>
    <p:sldLayoutId id="2147484206" r:id="rId5"/>
    <p:sldLayoutId id="2147484207" r:id="rId6"/>
    <p:sldLayoutId id="2147484208" r:id="rId7"/>
    <p:sldLayoutId id="2147484209" r:id="rId8"/>
    <p:sldLayoutId id="2147484210" r:id="rId9"/>
    <p:sldLayoutId id="2147484211" r:id="rId10"/>
    <p:sldLayoutId id="2147484212" r:id="rId11"/>
    <p:sldLayoutId id="2147484213" r:id="rId12"/>
    <p:sldLayoutId id="2147484214" r:id="rId13"/>
  </p:sldLayoutIdLs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199" b="1" i="0" kern="1200" cap="none" spc="0" baseline="0">
          <a:ln w="0"/>
          <a:solidFill>
            <a:schemeClr val="tx2"/>
          </a:solidFill>
          <a:effectLst>
            <a:outerShdw blurRad="38100" dist="25400" dir="5400000" algn="ctr" rotWithShape="0">
              <a:srgbClr val="6E747A">
                <a:alpha val="43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799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999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46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43380"/>
            <a:ext cx="1482051" cy="1155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defTabSz="914377"/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43380"/>
            <a:ext cx="381000" cy="1155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914377">
              <a:defRPr/>
            </a:pPr>
            <a:fld id="{DFCF27A5-1A5B-48D3-A060-2758FFBB1ADD}" type="slidenum">
              <a:rPr lang="en-US" sz="751">
                <a:solidFill>
                  <a:srgbClr val="FFFFFF">
                    <a:lumMod val="50000"/>
                  </a:srgbClr>
                </a:solidFill>
                <a:cs typeface="Calibri" panose="020F0502020204030204" pitchFamily="34" charset="0"/>
                <a:sym typeface="Calibri" panose="020F0502020204030204" pitchFamily="34" charset="0"/>
              </a:rPr>
              <a:pPr algn="r" defTabSz="914377">
                <a:defRPr/>
              </a:pPr>
              <a:t>‹#›</a:t>
            </a:fld>
            <a:endParaRPr lang="en-US" sz="751">
              <a:solidFill>
                <a:srgbClr val="FFFFFF">
                  <a:lumMod val="50000"/>
                </a:srgbClr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2" y="622801"/>
            <a:ext cx="10933351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2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956645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8" r:id="rId1"/>
    <p:sldLayoutId id="2147484229" r:id="rId2"/>
    <p:sldLayoutId id="2147484230" r:id="rId3"/>
    <p:sldLayoutId id="2147484231" r:id="rId4"/>
    <p:sldLayoutId id="2147484232" r:id="rId5"/>
    <p:sldLayoutId id="2147484233" r:id="rId6"/>
    <p:sldLayoutId id="2147484234" r:id="rId7"/>
    <p:sldLayoutId id="2147484235" r:id="rId8"/>
    <p:sldLayoutId id="2147484236" r:id="rId9"/>
    <p:sldLayoutId id="2147484237" r:id="rId10"/>
    <p:sldLayoutId id="2147484238" r:id="rId11"/>
    <p:sldLayoutId id="2147484239" r:id="rId12"/>
    <p:sldLayoutId id="2147484240" r:id="rId13"/>
    <p:sldLayoutId id="2147484241" r:id="rId14"/>
    <p:sldLayoutId id="2147484242" r:id="rId15"/>
    <p:sldLayoutId id="2147484243" r:id="rId16"/>
    <p:sldLayoutId id="2147484244" r:id="rId17"/>
    <p:sldLayoutId id="2147484245" r:id="rId18"/>
    <p:sldLayoutId id="2147484246" r:id="rId19"/>
    <p:sldLayoutId id="2147484247" r:id="rId20"/>
    <p:sldLayoutId id="2147484248" r:id="rId21"/>
    <p:sldLayoutId id="2147484249" r:id="rId22"/>
    <p:sldLayoutId id="2147484250" r:id="rId23"/>
    <p:sldLayoutId id="2147484251" r:id="rId24"/>
    <p:sldLayoutId id="2147484252" r:id="rId25"/>
    <p:sldLayoutId id="2147484253" r:id="rId26"/>
    <p:sldLayoutId id="2147484254" r:id="rId27"/>
    <p:sldLayoutId id="2147484255" r:id="rId28"/>
    <p:sldLayoutId id="2147484256" r:id="rId29"/>
    <p:sldLayoutId id="2147484257" r:id="rId30"/>
    <p:sldLayoutId id="2147484258" r:id="rId31"/>
    <p:sldLayoutId id="2147484259" r:id="rId32"/>
    <p:sldLayoutId id="2147484260" r:id="rId33"/>
    <p:sldLayoutId id="2147484261" r:id="rId34"/>
    <p:sldLayoutId id="2147484262" r:id="rId35"/>
    <p:sldLayoutId id="2147484263" r:id="rId36"/>
    <p:sldLayoutId id="2147484264" r:id="rId37"/>
    <p:sldLayoutId id="2147484265" r:id="rId38"/>
    <p:sldLayoutId id="2147484266" r:id="rId39"/>
    <p:sldLayoutId id="2147484267" r:id="rId40"/>
    <p:sldLayoutId id="2147484268" r:id="rId41"/>
    <p:sldLayoutId id="2147484269" r:id="rId42"/>
    <p:sldLayoutId id="2147484270" r:id="rId43"/>
    <p:sldLayoutId id="2147484271" r:id="rId44"/>
    <p:sldLayoutId id="2147484272" r:id="rId45"/>
    <p:sldLayoutId id="2147484273" r:id="rId46"/>
    <p:sldLayoutId id="2147484274" r:id="rId47"/>
    <p:sldLayoutId id="2147484275" r:id="rId48"/>
    <p:sldLayoutId id="2147484276" r:id="rId49"/>
    <p:sldLayoutId id="2147484277" r:id="rId50"/>
    <p:sldLayoutId id="2147484278" r:id="rId51"/>
    <p:sldLayoutId id="2147484279" r:id="rId52"/>
    <p:sldLayoutId id="2147484280" r:id="rId53"/>
    <p:sldLayoutId id="2147484281" r:id="rId54"/>
    <p:sldLayoutId id="2147484282" r:id="rId55"/>
    <p:sldLayoutId id="2147484283" r:id="rId56"/>
    <p:sldLayoutId id="2147484284" r:id="rId57"/>
    <p:sldLayoutId id="2147484285" r:id="rId58"/>
    <p:sldLayoutId id="2147484286" r:id="rId59"/>
    <p:sldLayoutId id="2147484287" r:id="rId60"/>
    <p:sldLayoutId id="2147484288" r:id="rId61"/>
    <p:sldLayoutId id="2147484289" r:id="rId62"/>
    <p:sldLayoutId id="2147484290" r:id="rId63"/>
    <p:sldLayoutId id="2147484291" r:id="rId64"/>
    <p:sldLayoutId id="2147484292" r:id="rId65"/>
    <p:sldLayoutId id="2147484293" r:id="rId66"/>
    <p:sldLayoutId id="2147484295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1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5pPr>
      <a:lvl6pPr marL="202402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1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1" kern="1200" baseline="0" smtClean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297">
          <p15:clr>
            <a:srgbClr val="F26B43"/>
          </p15:clr>
        </p15:guide>
        <p15:guide id="3" pos="5463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1"/>
          <p:cNvSpPr>
            <a:spLocks noChangeArrowheads="1"/>
          </p:cNvSpPr>
          <p:nvPr/>
        </p:nvSpPr>
        <p:spPr bwMode="auto">
          <a:xfrm>
            <a:off x="1" y="1"/>
            <a:ext cx="12192000" cy="1482725"/>
          </a:xfrm>
          <a:prstGeom prst="rect">
            <a:avLst/>
          </a:prstGeom>
          <a:noFill/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8985" y="1571625"/>
            <a:ext cx="10769229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08133" y="520700"/>
            <a:ext cx="10870856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grpSp>
        <p:nvGrpSpPr>
          <p:cNvPr id="1029" name="Group 1"/>
          <p:cNvGrpSpPr>
            <a:grpSpLocks/>
          </p:cNvGrpSpPr>
          <p:nvPr/>
        </p:nvGrpSpPr>
        <p:grpSpPr bwMode="auto">
          <a:xfrm>
            <a:off x="547831" y="6451601"/>
            <a:ext cx="10788284" cy="144463"/>
            <a:chOff x="411162" y="6362700"/>
            <a:chExt cx="8091567" cy="145097"/>
          </a:xfrm>
        </p:grpSpPr>
        <p:grpSp>
          <p:nvGrpSpPr>
            <p:cNvPr id="1033" name="Group 71"/>
            <p:cNvGrpSpPr>
              <a:grpSpLocks noChangeAspect="1"/>
            </p:cNvGrpSpPr>
            <p:nvPr userDrawn="1"/>
          </p:nvGrpSpPr>
          <p:grpSpPr bwMode="auto">
            <a:xfrm>
              <a:off x="411162" y="6370637"/>
              <a:ext cx="6045758" cy="137160"/>
              <a:chOff x="0" y="0"/>
              <a:chExt cx="5029200" cy="114300"/>
            </a:xfrm>
          </p:grpSpPr>
          <p:sp>
            <p:nvSpPr>
              <p:cNvPr id="119" name="Flowchart: Data 118"/>
              <p:cNvSpPr/>
              <p:nvPr userDrawn="1"/>
            </p:nvSpPr>
            <p:spPr>
              <a:xfrm>
                <a:off x="0" y="30"/>
                <a:ext cx="228858" cy="114270"/>
              </a:xfrm>
              <a:prstGeom prst="flowChartInputOutput">
                <a:avLst/>
              </a:prstGeom>
              <a:solidFill>
                <a:srgbClr val="00377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Flowchart: Data 119"/>
              <p:cNvSpPr/>
              <p:nvPr userDrawn="1"/>
            </p:nvSpPr>
            <p:spPr>
              <a:xfrm>
                <a:off x="343783" y="30"/>
                <a:ext cx="227868" cy="114270"/>
              </a:xfrm>
              <a:prstGeom prst="flowChartInputOutput">
                <a:avLst/>
              </a:prstGeom>
              <a:solidFill>
                <a:srgbClr val="EF85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Flowchart: Data 120"/>
              <p:cNvSpPr/>
              <p:nvPr userDrawn="1"/>
            </p:nvSpPr>
            <p:spPr>
              <a:xfrm>
                <a:off x="685585" y="30"/>
                <a:ext cx="229849" cy="114270"/>
              </a:xfrm>
              <a:prstGeom prst="flowChartInputOutput">
                <a:avLst/>
              </a:prstGeom>
              <a:solidFill>
                <a:srgbClr val="42983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Flowchart: Data 121"/>
              <p:cNvSpPr/>
              <p:nvPr userDrawn="1"/>
            </p:nvSpPr>
            <p:spPr>
              <a:xfrm>
                <a:off x="1028378" y="30"/>
                <a:ext cx="228858" cy="114270"/>
              </a:xfrm>
              <a:prstGeom prst="flowChartInputOutput">
                <a:avLst/>
              </a:prstGeom>
              <a:solidFill>
                <a:srgbClr val="00377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Flowchart: Data 122"/>
              <p:cNvSpPr/>
              <p:nvPr userDrawn="1"/>
            </p:nvSpPr>
            <p:spPr>
              <a:xfrm>
                <a:off x="1371170" y="30"/>
                <a:ext cx="228858" cy="114270"/>
              </a:xfrm>
              <a:prstGeom prst="flowChartInputOutput">
                <a:avLst/>
              </a:prstGeom>
              <a:solidFill>
                <a:srgbClr val="EF85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Flowchart: Data 123"/>
              <p:cNvSpPr/>
              <p:nvPr userDrawn="1"/>
            </p:nvSpPr>
            <p:spPr>
              <a:xfrm>
                <a:off x="1713963" y="30"/>
                <a:ext cx="228858" cy="114270"/>
              </a:xfrm>
              <a:prstGeom prst="flowChartInputOutput">
                <a:avLst/>
              </a:prstGeom>
              <a:solidFill>
                <a:srgbClr val="42983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Flowchart: Data 124"/>
              <p:cNvSpPr/>
              <p:nvPr userDrawn="1"/>
            </p:nvSpPr>
            <p:spPr>
              <a:xfrm>
                <a:off x="2057746" y="30"/>
                <a:ext cx="227868" cy="114270"/>
              </a:xfrm>
              <a:prstGeom prst="flowChartInputOutput">
                <a:avLst/>
              </a:prstGeom>
              <a:solidFill>
                <a:srgbClr val="00377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lowchart: Data 125"/>
              <p:cNvSpPr/>
              <p:nvPr userDrawn="1"/>
            </p:nvSpPr>
            <p:spPr>
              <a:xfrm>
                <a:off x="2399548" y="30"/>
                <a:ext cx="229849" cy="114270"/>
              </a:xfrm>
              <a:prstGeom prst="flowChartInputOutput">
                <a:avLst/>
              </a:prstGeom>
              <a:solidFill>
                <a:srgbClr val="EF85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7" name="Flowchart: Data 126"/>
              <p:cNvSpPr/>
              <p:nvPr userDrawn="1"/>
            </p:nvSpPr>
            <p:spPr>
              <a:xfrm>
                <a:off x="2742340" y="30"/>
                <a:ext cx="228858" cy="114270"/>
              </a:xfrm>
              <a:prstGeom prst="flowChartInputOutput">
                <a:avLst/>
              </a:prstGeom>
              <a:solidFill>
                <a:srgbClr val="42983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Flowchart: Data 127"/>
              <p:cNvSpPr/>
              <p:nvPr userDrawn="1"/>
            </p:nvSpPr>
            <p:spPr>
              <a:xfrm>
                <a:off x="3086123" y="30"/>
                <a:ext cx="228859" cy="114270"/>
              </a:xfrm>
              <a:prstGeom prst="flowChartInputOutput">
                <a:avLst/>
              </a:prstGeom>
              <a:solidFill>
                <a:srgbClr val="00377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Flowchart: Data 128"/>
              <p:cNvSpPr/>
              <p:nvPr userDrawn="1"/>
            </p:nvSpPr>
            <p:spPr>
              <a:xfrm>
                <a:off x="3427925" y="30"/>
                <a:ext cx="229849" cy="114270"/>
              </a:xfrm>
              <a:prstGeom prst="flowChartInputOutput">
                <a:avLst/>
              </a:prstGeom>
              <a:solidFill>
                <a:srgbClr val="EF85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Flowchart: Data 129"/>
              <p:cNvSpPr/>
              <p:nvPr userDrawn="1"/>
            </p:nvSpPr>
            <p:spPr>
              <a:xfrm>
                <a:off x="3771708" y="30"/>
                <a:ext cx="227868" cy="114270"/>
              </a:xfrm>
              <a:prstGeom prst="flowChartInputOutput">
                <a:avLst/>
              </a:prstGeom>
              <a:solidFill>
                <a:srgbClr val="42983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Flowchart: Data 130"/>
              <p:cNvSpPr/>
              <p:nvPr userDrawn="1"/>
            </p:nvSpPr>
            <p:spPr>
              <a:xfrm>
                <a:off x="4113510" y="30"/>
                <a:ext cx="229849" cy="114270"/>
              </a:xfrm>
              <a:prstGeom prst="flowChartInputOutput">
                <a:avLst/>
              </a:prstGeom>
              <a:solidFill>
                <a:srgbClr val="00377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32" name="Flowchart: Data 131"/>
              <p:cNvSpPr/>
              <p:nvPr userDrawn="1"/>
            </p:nvSpPr>
            <p:spPr>
              <a:xfrm>
                <a:off x="4456303" y="30"/>
                <a:ext cx="228858" cy="114270"/>
              </a:xfrm>
              <a:prstGeom prst="flowChartInputOutput">
                <a:avLst/>
              </a:prstGeom>
              <a:solidFill>
                <a:srgbClr val="EF85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33" name="Flowchart: Data 132"/>
              <p:cNvSpPr/>
              <p:nvPr userDrawn="1"/>
            </p:nvSpPr>
            <p:spPr>
              <a:xfrm>
                <a:off x="4800086" y="30"/>
                <a:ext cx="228859" cy="114270"/>
              </a:xfrm>
              <a:prstGeom prst="flowChartInputOutput">
                <a:avLst/>
              </a:prstGeom>
              <a:solidFill>
                <a:srgbClr val="42983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8" name="Flowchart: Data 27"/>
            <p:cNvSpPr/>
            <p:nvPr userDrawn="1"/>
          </p:nvSpPr>
          <p:spPr bwMode="auto">
            <a:xfrm>
              <a:off x="6580476" y="6362700"/>
              <a:ext cx="273927" cy="137124"/>
            </a:xfrm>
            <a:prstGeom prst="flowChartInputOutput">
              <a:avLst/>
            </a:prstGeom>
            <a:solidFill>
              <a:srgbClr val="0037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Flowchart: Data 28"/>
            <p:cNvSpPr/>
            <p:nvPr userDrawn="1"/>
          </p:nvSpPr>
          <p:spPr bwMode="auto">
            <a:xfrm>
              <a:off x="6991366" y="6362700"/>
              <a:ext cx="276309" cy="137124"/>
            </a:xfrm>
            <a:prstGeom prst="flowChartInputOutput">
              <a:avLst/>
            </a:prstGeom>
            <a:solidFill>
              <a:srgbClr val="EF85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Flowchart: Data 29"/>
            <p:cNvSpPr/>
            <p:nvPr userDrawn="1"/>
          </p:nvSpPr>
          <p:spPr bwMode="auto">
            <a:xfrm>
              <a:off x="7404639" y="6362700"/>
              <a:ext cx="273927" cy="137124"/>
            </a:xfrm>
            <a:prstGeom prst="flowChartInputOutput">
              <a:avLst/>
            </a:prstGeom>
            <a:solidFill>
              <a:srgbClr val="4298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Flowchart: Data 30"/>
            <p:cNvSpPr/>
            <p:nvPr userDrawn="1"/>
          </p:nvSpPr>
          <p:spPr bwMode="auto">
            <a:xfrm>
              <a:off x="7815529" y="6362700"/>
              <a:ext cx="276309" cy="137124"/>
            </a:xfrm>
            <a:prstGeom prst="flowChartInputOutput">
              <a:avLst/>
            </a:prstGeom>
            <a:solidFill>
              <a:srgbClr val="0037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Flowchart: Data 31"/>
            <p:cNvSpPr/>
            <p:nvPr userDrawn="1"/>
          </p:nvSpPr>
          <p:spPr bwMode="auto">
            <a:xfrm>
              <a:off x="8227611" y="6362700"/>
              <a:ext cx="275118" cy="137124"/>
            </a:xfrm>
            <a:prstGeom prst="flowChartInputOutput">
              <a:avLst/>
            </a:prstGeom>
            <a:solidFill>
              <a:srgbClr val="EF85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6D6AEF8-5C43-4D2C-BB68-CA8215367BA7}" type="slidenum">
              <a:rPr lang="en-US" alt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cs typeface="Arial" charset="0"/>
            </a:endParaRPr>
          </a:p>
        </p:txBody>
      </p:sp>
      <p:sp>
        <p:nvSpPr>
          <p:cNvPr id="1032" name="TextBox 33"/>
          <p:cNvSpPr txBox="1">
            <a:spLocks noChangeArrowheads="1"/>
          </p:cNvSpPr>
          <p:nvPr userDrawn="1"/>
        </p:nvSpPr>
        <p:spPr bwMode="auto">
          <a:xfrm>
            <a:off x="379512" y="6324600"/>
            <a:ext cx="11128098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948" y="267392"/>
            <a:ext cx="2057936" cy="473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080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3779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3779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3779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3779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3779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8981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8981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8981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F8981D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3779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3779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779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3779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3779"/>
          </a:solidFill>
          <a:latin typeface="+mn-lt"/>
          <a:ea typeface="ＭＳ Ｐゴシック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33"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 defTabSz="914377"/>
              <a:t>4/1/2020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3375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 defTabSz="914377"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8297" y="6444747"/>
            <a:ext cx="797799" cy="1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482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</p:sldLayoutIdLst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196717" y="3060224"/>
            <a:ext cx="2113722" cy="3677609"/>
          </a:xfrm>
          <a:prstGeom prst="rect">
            <a:avLst/>
          </a:prstGeom>
          <a:solidFill>
            <a:srgbClr val="D5EDFF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Rectangle 25"/>
          <p:cNvSpPr/>
          <p:nvPr/>
        </p:nvSpPr>
        <p:spPr>
          <a:xfrm>
            <a:off x="2465841" y="3060224"/>
            <a:ext cx="1992382" cy="3677609"/>
          </a:xfrm>
          <a:prstGeom prst="rect">
            <a:avLst/>
          </a:prstGeom>
          <a:solidFill>
            <a:srgbClr val="D5EDFF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Rectangle 26"/>
          <p:cNvSpPr/>
          <p:nvPr/>
        </p:nvSpPr>
        <p:spPr>
          <a:xfrm>
            <a:off x="4613625" y="3054494"/>
            <a:ext cx="2108752" cy="3677609"/>
          </a:xfrm>
          <a:prstGeom prst="rect">
            <a:avLst/>
          </a:prstGeom>
          <a:solidFill>
            <a:srgbClr val="D5EDFF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" name="Rectangle 27"/>
          <p:cNvSpPr/>
          <p:nvPr/>
        </p:nvSpPr>
        <p:spPr>
          <a:xfrm>
            <a:off x="6877780" y="3054494"/>
            <a:ext cx="2511386" cy="3677609"/>
          </a:xfrm>
          <a:prstGeom prst="rect">
            <a:avLst/>
          </a:prstGeom>
          <a:solidFill>
            <a:srgbClr val="D5EDFF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9" name="Rectangle 28"/>
          <p:cNvSpPr/>
          <p:nvPr/>
        </p:nvSpPr>
        <p:spPr>
          <a:xfrm>
            <a:off x="9541668" y="3054494"/>
            <a:ext cx="2451550" cy="3677609"/>
          </a:xfrm>
          <a:prstGeom prst="rect">
            <a:avLst/>
          </a:prstGeom>
          <a:solidFill>
            <a:srgbClr val="D5EDFF"/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86328"/>
            <a:ext cx="10972800" cy="384125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Arial"/>
              </a:rPr>
              <a:t>Information Services </a:t>
            </a:r>
            <a:r>
              <a:rPr lang="en-US" sz="2800" b="1" dirty="0">
                <a:latin typeface="Arial"/>
              </a:rPr>
              <a:t>Response to </a:t>
            </a:r>
            <a:r>
              <a:rPr lang="en-US" sz="2800" b="1" dirty="0" smtClean="0">
                <a:latin typeface="Arial"/>
              </a:rPr>
              <a:t>COVID-19 </a:t>
            </a:r>
            <a:r>
              <a:rPr lang="en-US" sz="1800" dirty="0" smtClean="0">
                <a:latin typeface="Arial"/>
              </a:rPr>
              <a:t>(as </a:t>
            </a:r>
            <a:r>
              <a:rPr lang="en-US" sz="1800" smtClean="0">
                <a:latin typeface="Arial"/>
              </a:rPr>
              <a:t>of </a:t>
            </a:r>
            <a:r>
              <a:rPr lang="en-US" sz="1800" smtClean="0">
                <a:latin typeface="Arial"/>
              </a:rPr>
              <a:t>3/24/20)</a:t>
            </a:r>
            <a:endParaRPr lang="en-US" sz="1200" dirty="0"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97206" y="3063227"/>
            <a:ext cx="200522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atient Facing </a:t>
            </a:r>
            <a:r>
              <a:rPr lang="en-US" sz="11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ools</a:t>
            </a:r>
          </a:p>
          <a:p>
            <a:endParaRPr lang="en-US" sz="900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y Chart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wording changes for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ovidence &amp; Community Connect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On-line scheduling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changes based on need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RM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assistance with new triage MS/DIG deployed BOT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Home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onitoring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ools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developed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d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tegration with </a:t>
            </a:r>
            <a:r>
              <a:rPr lang="en-US" sz="9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Twistle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Patient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Messaging changes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appointment reminder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ools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IPads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&amp; multiple social platforms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patients to stay in communication with family &amp;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friends. 500+ deployed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04934" y="3063227"/>
            <a:ext cx="2017233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riage Tent &amp; Bed Management </a:t>
            </a:r>
            <a:endParaRPr lang="en-US" sz="1100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en-US" sz="900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Rapid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onboarding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mbulatory &amp; inpatient triage options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ncluding drive through lab sites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First ambulatory triage site live in 3 days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–Over 500 seen at Swedish in the 1</a:t>
            </a:r>
            <a:r>
              <a:rPr lang="en-US" sz="900" baseline="300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st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 week. 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Network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eployment 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formatics training, design &amp; support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pplications, process, design &amp; build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030281" y="3063227"/>
            <a:ext cx="235888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1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Data &amp; </a:t>
            </a:r>
            <a:r>
              <a:rPr lang="en-US" sz="11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nalytics</a:t>
            </a:r>
            <a:endParaRPr lang="en-US" sz="11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Operational reporting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ools.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Infection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control, Laboratory, and Bed volume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tracking. Automation of key metrics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dentification of revenue impacts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ultiple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nalytics and dashboarding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efforts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ED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Volumes &amp; Acuity, OR Volumes and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cancelations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,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Urgent Care and Virtual Visit volumes and trends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Active tracking of Covid-19 patients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n-house, newly diagnosed, rule-outs, negative tests, and resolved cases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artnering with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Microsoft.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pp to assist in capturing and aggregating critical data for reporting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new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OVID Epidemic Registry &amp; emergency data platform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660835" y="3063227"/>
            <a:ext cx="2277305" cy="370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SzPct val="60000"/>
            </a:pPr>
            <a:r>
              <a:rPr lang="en-US" sz="11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chnology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Rapid deployment of equipment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Preparation for work from home increases. Working with vendors to ensure supply. Patient &amp; caregiver iPad deployment 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ed &amp; Unit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changes (over 1000 bed changes) </a:t>
            </a:r>
            <a:endParaRPr lang="en-US" sz="9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mbulatory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clinic reconfigurations 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Video visit equipment adds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Piloting IPads using Teams in partnership with Microsoft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Caregiver &amp; patient communication to conserve PPE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Local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OC/Command Centers </a:t>
            </a:r>
          </a:p>
          <a:p>
            <a:pPr marL="112713" lvl="1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riage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functions system wide </a:t>
            </a:r>
          </a:p>
          <a:p>
            <a:pPr marL="112713" lvl="0" indent="-112713">
              <a:spcBef>
                <a:spcPts val="600"/>
              </a:spcBef>
              <a:spcAft>
                <a:spcPts val="600"/>
              </a:spcAft>
              <a:buSzPct val="60000"/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Added </a:t>
            </a: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ew tool for volunteer signup 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66094" y="3063227"/>
            <a:ext cx="1996108" cy="37702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EHR</a:t>
            </a:r>
            <a:endParaRPr lang="en-US" sz="9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Lab Testing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. Rapid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deployment  of multiple new tests. Developing decision support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creening criteria for all entry points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. Rapid iteration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dentification tools (Flag)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care and reporting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elesitter adds </a:t>
            </a:r>
            <a:r>
              <a:rPr lang="en-US" sz="9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new ways of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onitoring. Expanding to Everett</a:t>
            </a:r>
            <a:endParaRPr lang="en-US" sz="9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ew home monitoring enrollment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tools </a:t>
            </a: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Hospital @ Home workflows being developed </a:t>
            </a:r>
            <a:endParaRPr lang="en-US" sz="9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illing </a:t>
            </a:r>
            <a:r>
              <a:rPr lang="en-US" sz="9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</a:t>
            </a:r>
            <a:endParaRPr lang="en-US" sz="9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12713" indent="-112713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upport telehealth, express care </a:t>
            </a:r>
            <a:r>
              <a:rPr lang="en-US" sz="9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Added 7k Providers for billable zoom virtual visit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6717" y="499949"/>
            <a:ext cx="1188885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Stood up IS Command Center for daily coordination with EOC and across IS. Rapid iteration to support community need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Rapid build, deploy and supply processes across work streams- e.g. Lab testing, Screening, User Access. 26 </a:t>
            </a:r>
            <a:r>
              <a:rPr lang="en-US" sz="1200" dirty="0"/>
              <a:t>total drive through </a:t>
            </a:r>
            <a:r>
              <a:rPr lang="en-US" sz="1200" dirty="0" smtClean="0"/>
              <a:t>sites 15 </a:t>
            </a:r>
            <a:r>
              <a:rPr lang="en-US" sz="1200" dirty="0"/>
              <a:t>live (4 coming soon</a:t>
            </a:r>
            <a:r>
              <a:rPr lang="en-US" sz="1200" dirty="0" smtClean="0"/>
              <a:t>), 34 </a:t>
            </a:r>
            <a:r>
              <a:rPr lang="en-US" sz="1200" dirty="0"/>
              <a:t>Acute Triage tends 15 live  (15 coming soon) </a:t>
            </a:r>
            <a:r>
              <a:rPr lang="en-US" sz="1200" dirty="0" smtClean="0"/>
              <a:t>, 41 </a:t>
            </a:r>
            <a:r>
              <a:rPr lang="en-US" sz="1200" dirty="0"/>
              <a:t>bed requests 5 live. Process work </a:t>
            </a:r>
            <a:r>
              <a:rPr lang="en-US" sz="1200" dirty="0" smtClean="0"/>
              <a:t>set, SMG </a:t>
            </a:r>
            <a:r>
              <a:rPr lang="en-US" sz="1200" dirty="0"/>
              <a:t>Web Van-run through 1st Hill disaster clinic </a:t>
            </a:r>
            <a:r>
              <a:rPr lang="en-US" sz="1200" dirty="0" smtClean="0"/>
              <a:t>,OR </a:t>
            </a:r>
            <a:r>
              <a:rPr lang="en-US" sz="1200" dirty="0"/>
              <a:t>volume increase for equipment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Enabling work from home for non clinical – communication on how to, fixing </a:t>
            </a:r>
            <a:r>
              <a:rPr lang="en-US" sz="1200" dirty="0"/>
              <a:t>blocking </a:t>
            </a:r>
            <a:r>
              <a:rPr lang="en-US" sz="1200" dirty="0" smtClean="0"/>
              <a:t>issues, and focusing service desk working </a:t>
            </a:r>
            <a:r>
              <a:rPr lang="en-US" sz="1200" dirty="0"/>
              <a:t>with key groups like Rev Cycle, </a:t>
            </a:r>
            <a:r>
              <a:rPr lang="en-US" sz="1200" dirty="0" smtClean="0"/>
              <a:t>etc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Incremental </a:t>
            </a:r>
            <a:r>
              <a:rPr lang="en-US" sz="1200" dirty="0"/>
              <a:t>improvements to Citrix to improve caregiver experience, this will resolve historical performance issues </a:t>
            </a:r>
            <a:endParaRPr lang="en-US" sz="12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Enabled </a:t>
            </a:r>
            <a:r>
              <a:rPr lang="en-US" sz="1200" dirty="0" smtClean="0"/>
              <a:t>controls </a:t>
            </a:r>
            <a:r>
              <a:rPr lang="en-US" sz="1200" dirty="0"/>
              <a:t>in systems </a:t>
            </a:r>
            <a:r>
              <a:rPr lang="en-US" sz="1200" dirty="0" smtClean="0"/>
              <a:t>(Lawson) to counteract </a:t>
            </a:r>
            <a:r>
              <a:rPr lang="en-US" sz="1200" dirty="0"/>
              <a:t>Inventory Depletions for PP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Data &amp; Analytics: Covered </a:t>
            </a:r>
            <a:r>
              <a:rPr lang="en-US" sz="1200" dirty="0"/>
              <a:t>&amp; </a:t>
            </a:r>
            <a:r>
              <a:rPr lang="en-US" sz="1200" dirty="0" smtClean="0"/>
              <a:t>Myhiway, Lab </a:t>
            </a:r>
            <a:r>
              <a:rPr lang="en-US" sz="1200" dirty="0"/>
              <a:t>test report published </a:t>
            </a:r>
            <a:r>
              <a:rPr lang="en-US" sz="1200" dirty="0" smtClean="0"/>
              <a:t>, Bed </a:t>
            </a:r>
            <a:r>
              <a:rPr lang="en-US" sz="1200" dirty="0"/>
              <a:t>Occupancy rate report published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Genesis and EPIC migration prioritized as essential projects, run in parallel to all of the COVID unplanned work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Facing delays for other projects e.g. AD migration for HR Shared Services, Windows </a:t>
            </a:r>
            <a:r>
              <a:rPr lang="en-US" sz="1200" dirty="0"/>
              <a:t>10 migration. </a:t>
            </a:r>
            <a:r>
              <a:rPr lang="en-US" sz="1200" dirty="0" smtClean="0"/>
              <a:t>Most </a:t>
            </a:r>
            <a:r>
              <a:rPr lang="en-US" sz="1200" dirty="0"/>
              <a:t>other project work on track </a:t>
            </a:r>
            <a:r>
              <a:rPr lang="en-US" sz="1200" dirty="0" smtClean="0"/>
              <a:t>but key decision points ahea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At Epic’s request, delivered a webinar for </a:t>
            </a:r>
            <a:r>
              <a:rPr lang="en-US" sz="1200" dirty="0"/>
              <a:t>other customers as we are ahead of </a:t>
            </a:r>
            <a:r>
              <a:rPr lang="en-US" sz="1200" dirty="0" smtClean="0"/>
              <a:t>most. Highest survey score 9.21/10 with 850 attendees</a:t>
            </a:r>
          </a:p>
        </p:txBody>
      </p:sp>
    </p:spTree>
    <p:extLst>
      <p:ext uri="{BB962C8B-B14F-4D97-AF65-F5344CB8AC3E}">
        <p14:creationId xmlns:p14="http://schemas.microsoft.com/office/powerpoint/2010/main" val="967613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JH_Template_16x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SJH_Template_16x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BCG Grid 16:9">
  <a:themeElements>
    <a:clrScheme name="PJHS">
      <a:dk1>
        <a:srgbClr val="000000"/>
      </a:dk1>
      <a:lt1>
        <a:srgbClr val="FFFFFF"/>
      </a:lt1>
      <a:dk2>
        <a:srgbClr val="00539B"/>
      </a:dk2>
      <a:lt2>
        <a:srgbClr val="F2F2F2"/>
      </a:lt2>
      <a:accent1>
        <a:srgbClr val="00294D"/>
      </a:accent1>
      <a:accent2>
        <a:srgbClr val="003E74"/>
      </a:accent2>
      <a:accent3>
        <a:srgbClr val="D4DF33"/>
      </a:accent3>
      <a:accent4>
        <a:srgbClr val="0067C4"/>
      </a:accent4>
      <a:accent5>
        <a:srgbClr val="7F7F7F"/>
      </a:accent5>
      <a:accent6>
        <a:srgbClr val="429644"/>
      </a:accent6>
      <a:hlink>
        <a:srgbClr val="3F7EB4"/>
      </a:hlink>
      <a:folHlink>
        <a:srgbClr val="1FBA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3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US.potx" id="{0EE9D2B3-061D-4481-B583-397E8A57E8A2}" vid="{027ADE79-AE14-4360-9116-256000D5D1A0}"/>
    </a:ext>
  </a:extLst>
</a:theme>
</file>

<file path=ppt/theme/theme5.xml><?xml version="1.0" encoding="utf-8"?>
<a:theme xmlns:a="http://schemas.openxmlformats.org/drawingml/2006/main" name="BCG Grid 16:9">
  <a:themeElements>
    <a:clrScheme name="PJHS">
      <a:dk1>
        <a:srgbClr val="000000"/>
      </a:dk1>
      <a:lt1>
        <a:srgbClr val="FFFFFF"/>
      </a:lt1>
      <a:dk2>
        <a:srgbClr val="00539B"/>
      </a:dk2>
      <a:lt2>
        <a:srgbClr val="F2F2F2"/>
      </a:lt2>
      <a:accent1>
        <a:srgbClr val="00294D"/>
      </a:accent1>
      <a:accent2>
        <a:srgbClr val="003E74"/>
      </a:accent2>
      <a:accent3>
        <a:srgbClr val="D4DF33"/>
      </a:accent3>
      <a:accent4>
        <a:srgbClr val="0067C4"/>
      </a:accent4>
      <a:accent5>
        <a:srgbClr val="7F7F7F"/>
      </a:accent5>
      <a:accent6>
        <a:srgbClr val="429644"/>
      </a:accent6>
      <a:hlink>
        <a:srgbClr val="3F7EB4"/>
      </a:hlink>
      <a:folHlink>
        <a:srgbClr val="1FBA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ving on Medicare for RCEs v1 acp" id="{03A1244B-2FCF-9A4E-8391-D7975E2143A0}" vid="{18230129-700C-BD48-A38B-FFC61686CBAB}"/>
    </a:ext>
  </a:extLst>
</a:theme>
</file>

<file path=ppt/theme/theme7.xml><?xml version="1.0" encoding="utf-8"?>
<a:theme xmlns:a="http://schemas.openxmlformats.org/drawingml/2006/main" name="3_BCG Grid 16:9">
  <a:themeElements>
    <a:clrScheme name="PJHS">
      <a:dk1>
        <a:srgbClr val="000000"/>
      </a:dk1>
      <a:lt1>
        <a:srgbClr val="FFFFFF"/>
      </a:lt1>
      <a:dk2>
        <a:srgbClr val="00539B"/>
      </a:dk2>
      <a:lt2>
        <a:srgbClr val="F2F2F2"/>
      </a:lt2>
      <a:accent1>
        <a:srgbClr val="00294D"/>
      </a:accent1>
      <a:accent2>
        <a:srgbClr val="003E74"/>
      </a:accent2>
      <a:accent3>
        <a:srgbClr val="D4DF33"/>
      </a:accent3>
      <a:accent4>
        <a:srgbClr val="0067C4"/>
      </a:accent4>
      <a:accent5>
        <a:srgbClr val="7F7F7F"/>
      </a:accent5>
      <a:accent6>
        <a:srgbClr val="429644"/>
      </a:accent6>
      <a:hlink>
        <a:srgbClr val="3F7EB4"/>
      </a:hlink>
      <a:folHlink>
        <a:srgbClr val="1FBA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PSJH Board Presentation Template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Office Theme">
  <a:themeElements>
    <a:clrScheme name="PC - Color Blue">
      <a:dk1>
        <a:srgbClr val="656D78"/>
      </a:dk1>
      <a:lt1>
        <a:srgbClr val="FFFFFF"/>
      </a:lt1>
      <a:dk2>
        <a:srgbClr val="44546A"/>
      </a:dk2>
      <a:lt2>
        <a:srgbClr val="E7E6E6"/>
      </a:lt2>
      <a:accent1>
        <a:srgbClr val="42A5F5"/>
      </a:accent1>
      <a:accent2>
        <a:srgbClr val="2196F3"/>
      </a:accent2>
      <a:accent3>
        <a:srgbClr val="1E88E5"/>
      </a:accent3>
      <a:accent4>
        <a:srgbClr val="1976D2"/>
      </a:accent4>
      <a:accent5>
        <a:srgbClr val="1565C0"/>
      </a:accent5>
      <a:accent6>
        <a:srgbClr val="0D47A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227F3B63CC5C45A7AD51BDF8D29E5D" ma:contentTypeVersion="8" ma:contentTypeDescription="Create a new document." ma:contentTypeScope="" ma:versionID="6ab572d17b1bdd45b92b1c5d0413b7b1">
  <xsd:schema xmlns:xsd="http://www.w3.org/2001/XMLSchema" xmlns:xs="http://www.w3.org/2001/XMLSchema" xmlns:p="http://schemas.microsoft.com/office/2006/metadata/properties" xmlns:ns2="18889bbf-a085-45c4-a281-bafb39868fd6" xmlns:ns3="1b00b6f9-1c53-4a0a-aeed-63d2cefc5540" targetNamespace="http://schemas.microsoft.com/office/2006/metadata/properties" ma:root="true" ma:fieldsID="c3e65ae9de506143372db69594fc5d08" ns2:_="" ns3:_="">
    <xsd:import namespace="18889bbf-a085-45c4-a281-bafb39868fd6"/>
    <xsd:import namespace="1b00b6f9-1c53-4a0a-aeed-63d2cefc55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9bbf-a085-45c4-a281-bafb39868f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00b6f9-1c53-4a0a-aeed-63d2cefc554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E98542-0885-4F16-97A7-80563DB9C19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D92E3FF-A243-4B5B-9D11-3C30F721B70E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1b00b6f9-1c53-4a0a-aeed-63d2cefc5540"/>
    <ds:schemaRef ds:uri="http://schemas.microsoft.com/office/infopath/2007/PartnerControls"/>
    <ds:schemaRef ds:uri="18889bbf-a085-45c4-a281-bafb39868fd6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EC6240E-4FAC-4044-9FAB-2BBEA62DD5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889bbf-a085-45c4-a281-bafb39868fd6"/>
    <ds:schemaRef ds:uri="1b00b6f9-1c53-4a0a-aeed-63d2cefc55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7</TotalTime>
  <Words>589</Words>
  <Application>Microsoft Office PowerPoint</Application>
  <PresentationFormat>Widescreen</PresentationFormat>
  <Paragraphs>5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8" baseType="lpstr">
      <vt:lpstr>ＭＳ Ｐゴシック</vt:lpstr>
      <vt:lpstr>Arial</vt:lpstr>
      <vt:lpstr>Calibri</vt:lpstr>
      <vt:lpstr>Calibri Light</vt:lpstr>
      <vt:lpstr>Courier New</vt:lpstr>
      <vt:lpstr>Georgia</vt:lpstr>
      <vt:lpstr>Gill Sans MT</vt:lpstr>
      <vt:lpstr>Gotham</vt:lpstr>
      <vt:lpstr>Malayalam MN</vt:lpstr>
      <vt:lpstr>Minion Pro Med</vt:lpstr>
      <vt:lpstr>Open Sans</vt:lpstr>
      <vt:lpstr>Segoe UI Semibold</vt:lpstr>
      <vt:lpstr>Segoe UI Semilight</vt:lpstr>
      <vt:lpstr>Trebuchet MS</vt:lpstr>
      <vt:lpstr>Verdana</vt:lpstr>
      <vt:lpstr>Wingdings</vt:lpstr>
      <vt:lpstr>Wingdings 2</vt:lpstr>
      <vt:lpstr>PSJH_Template_16x9</vt:lpstr>
      <vt:lpstr>1_PSJH_Template_16x9</vt:lpstr>
      <vt:lpstr>2_BCG Grid 16:9</vt:lpstr>
      <vt:lpstr>13_Deloitte_US_Onscreen</vt:lpstr>
      <vt:lpstr>BCG Grid 16:9</vt:lpstr>
      <vt:lpstr>4_Office Theme</vt:lpstr>
      <vt:lpstr>3_BCG Grid 16:9</vt:lpstr>
      <vt:lpstr>PSJH Board Presentation Template</vt:lpstr>
      <vt:lpstr>2_Office Theme</vt:lpstr>
      <vt:lpstr>think-cell Slide</vt:lpstr>
      <vt:lpstr>Information Services Response to COVID-19 (as of 3/24/20)</vt:lpstr>
    </vt:vector>
  </TitlesOfParts>
  <Company>Providence Health &amp; Servic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man, Michele M</dc:creator>
  <cp:lastModifiedBy>Carson, Chris</cp:lastModifiedBy>
  <cp:revision>101</cp:revision>
  <dcterms:created xsi:type="dcterms:W3CDTF">2018-11-16T18:08:12Z</dcterms:created>
  <dcterms:modified xsi:type="dcterms:W3CDTF">2020-04-01T15:4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227F3B63CC5C45A7AD51BDF8D29E5D</vt:lpwstr>
  </property>
</Properties>
</file>